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comments/comment2.xml" ContentType="application/vnd.openxmlformats-officedocument.presentationml.comments+xml"/>
  <Override PartName="/ppt/notesSlides/notesSlide2.xml" ContentType="application/vnd.openxmlformats-officedocument.presentationml.notesSlide+xml"/>
  <Override PartName="/ppt/comments/comment3.xml" ContentType="application/vnd.openxmlformats-officedocument.presentationml.comment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2" r:id="rId5"/>
  </p:sldMasterIdLst>
  <p:notesMasterIdLst>
    <p:notesMasterId r:id="rId38"/>
  </p:notesMasterIdLst>
  <p:sldIdLst>
    <p:sldId id="257" r:id="rId6"/>
    <p:sldId id="264" r:id="rId7"/>
    <p:sldId id="258" r:id="rId8"/>
    <p:sldId id="259" r:id="rId9"/>
    <p:sldId id="260" r:id="rId10"/>
    <p:sldId id="268" r:id="rId11"/>
    <p:sldId id="269" r:id="rId12"/>
    <p:sldId id="267" r:id="rId13"/>
    <p:sldId id="261" r:id="rId14"/>
    <p:sldId id="284" r:id="rId15"/>
    <p:sldId id="270" r:id="rId16"/>
    <p:sldId id="271" r:id="rId17"/>
    <p:sldId id="272" r:id="rId18"/>
    <p:sldId id="283" r:id="rId19"/>
    <p:sldId id="273" r:id="rId20"/>
    <p:sldId id="262" r:id="rId21"/>
    <p:sldId id="274" r:id="rId22"/>
    <p:sldId id="263" r:id="rId23"/>
    <p:sldId id="279" r:id="rId24"/>
    <p:sldId id="275" r:id="rId25"/>
    <p:sldId id="276" r:id="rId26"/>
    <p:sldId id="277" r:id="rId27"/>
    <p:sldId id="278" r:id="rId28"/>
    <p:sldId id="364" r:id="rId29"/>
    <p:sldId id="317" r:id="rId30"/>
    <p:sldId id="363" r:id="rId31"/>
    <p:sldId id="365" r:id="rId32"/>
    <p:sldId id="366" r:id="rId33"/>
    <p:sldId id="367" r:id="rId34"/>
    <p:sldId id="368" r:id="rId35"/>
    <p:sldId id="369" r:id="rId36"/>
    <p:sldId id="266" r:id="rId37"/>
  </p:sldIdLst>
  <p:sldSz cx="12192000" cy="6858000"/>
  <p:notesSz cx="6858000" cy="91440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ys Debby - Xerius" initials="BD-X" lastIdx="3" clrIdx="0">
    <p:extLst>
      <p:ext uri="{19B8F6BF-5375-455C-9EA6-DF929625EA0E}">
        <p15:presenceInfo xmlns:p15="http://schemas.microsoft.com/office/powerpoint/2012/main" userId="S::debby.buys@xerius.be::f8910c18-54fe-4671-b351-6641014c31f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32F9ECF-C8DF-489E-BC23-D95E1C5F40CC}" v="59" dt="2020-04-21T17:48:15.9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1" autoAdjust="0"/>
    <p:restoredTop sz="94660"/>
  </p:normalViewPr>
  <p:slideViewPr>
    <p:cSldViewPr snapToGrid="0">
      <p:cViewPr varScale="1">
        <p:scale>
          <a:sx n="108" d="100"/>
          <a:sy n="108" d="100"/>
        </p:scale>
        <p:origin x="65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oleObject" Target="file:///\\Users\stevendeblieck\Library\Containers\com.microsoft.Excel\Data\Library\Caches\1033\TM10000055\Online%20Sales%20Tracker.xlt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nl-NL"/>
  <c:roundedCorners val="0"/>
  <c:style val="18"/>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FE8656"/>
            </a:solidFill>
            <a:ln w="12700" cap="flat">
              <a:noFill/>
              <a:miter lim="400000"/>
            </a:ln>
            <a:effectLst/>
          </c:spPr>
          <c:explosion val="1"/>
          <c:dPt>
            <c:idx val="0"/>
            <c:bubble3D val="0"/>
            <c:spPr>
              <a:solidFill>
                <a:schemeClr val="accent1"/>
              </a:solidFill>
              <a:ln w="12700" cap="flat">
                <a:noFill/>
                <a:miter lim="400000"/>
              </a:ln>
              <a:effectLst/>
            </c:spPr>
            <c:extLst>
              <c:ext xmlns:c16="http://schemas.microsoft.com/office/drawing/2014/chart" uri="{C3380CC4-5D6E-409C-BE32-E72D297353CC}">
                <c16:uniqueId val="{00000001-B165-764E-9151-51AE4F057905}"/>
              </c:ext>
            </c:extLst>
          </c:dPt>
          <c:dPt>
            <c:idx val="1"/>
            <c:bubble3D val="0"/>
            <c:explosion val="0"/>
            <c:spPr>
              <a:solidFill>
                <a:srgbClr val="D5D9D9"/>
              </a:solidFill>
              <a:ln w="12700" cap="flat">
                <a:noFill/>
                <a:miter lim="400000"/>
              </a:ln>
              <a:effectLst/>
            </c:spPr>
            <c:extLst>
              <c:ext xmlns:c16="http://schemas.microsoft.com/office/drawing/2014/chart" uri="{C3380CC4-5D6E-409C-BE32-E72D297353CC}">
                <c16:uniqueId val="{00000003-B165-764E-9151-51AE4F057905}"/>
              </c:ext>
            </c:extLst>
          </c:dPt>
          <c:cat>
            <c:strRef>
              <c:f>Sheet1!$B$1:$C$1</c:f>
              <c:strCache>
                <c:ptCount val="2"/>
                <c:pt idx="0">
                  <c:v>April</c:v>
                </c:pt>
                <c:pt idx="1">
                  <c:v>May</c:v>
                </c:pt>
              </c:strCache>
            </c:strRef>
          </c:cat>
          <c:val>
            <c:numRef>
              <c:f>Sheet1!$B$2:$C$2</c:f>
              <c:numCache>
                <c:formatCode>General</c:formatCode>
                <c:ptCount val="2"/>
                <c:pt idx="0">
                  <c:v>80</c:v>
                </c:pt>
                <c:pt idx="1">
                  <c:v>20</c:v>
                </c:pt>
              </c:numCache>
            </c:numRef>
          </c:val>
          <c:extLst>
            <c:ext xmlns:c16="http://schemas.microsoft.com/office/drawing/2014/chart" uri="{C3380CC4-5D6E-409C-BE32-E72D297353CC}">
              <c16:uniqueId val="{00000004-B165-764E-9151-51AE4F057905}"/>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nl-NL"/>
  <c:roundedCorners val="0"/>
  <c:style val="18"/>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chemeClr val="bg2"/>
            </a:solidFill>
            <a:ln w="12700" cap="flat">
              <a:noFill/>
              <a:miter lim="400000"/>
            </a:ln>
            <a:effectLst/>
          </c:spPr>
          <c:dPt>
            <c:idx val="0"/>
            <c:bubble3D val="0"/>
            <c:spPr>
              <a:solidFill>
                <a:schemeClr val="accent5"/>
              </a:solidFill>
              <a:ln w="12700" cap="flat">
                <a:noFill/>
                <a:miter lim="400000"/>
              </a:ln>
              <a:effectLst/>
            </c:spPr>
            <c:extLst>
              <c:ext xmlns:c16="http://schemas.microsoft.com/office/drawing/2014/chart" uri="{C3380CC4-5D6E-409C-BE32-E72D297353CC}">
                <c16:uniqueId val="{00000001-1DAC-2F43-8C7A-B0EE93D5D81F}"/>
              </c:ext>
            </c:extLst>
          </c:dPt>
          <c:dPt>
            <c:idx val="1"/>
            <c:bubble3D val="0"/>
            <c:extLst>
              <c:ext xmlns:c16="http://schemas.microsoft.com/office/drawing/2014/chart" uri="{C3380CC4-5D6E-409C-BE32-E72D297353CC}">
                <c16:uniqueId val="{00000003-1DAC-2F43-8C7A-B0EE93D5D81F}"/>
              </c:ext>
            </c:extLst>
          </c:dPt>
          <c:cat>
            <c:strRef>
              <c:f>Sheet1!$B$1:$C$1</c:f>
              <c:strCache>
                <c:ptCount val="2"/>
                <c:pt idx="0">
                  <c:v>April</c:v>
                </c:pt>
                <c:pt idx="1">
                  <c:v>May</c:v>
                </c:pt>
              </c:strCache>
            </c:strRef>
          </c:cat>
          <c:val>
            <c:numRef>
              <c:f>Sheet1!$B$2:$C$2</c:f>
              <c:numCache>
                <c:formatCode>General</c:formatCode>
                <c:ptCount val="2"/>
                <c:pt idx="0">
                  <c:v>60</c:v>
                </c:pt>
                <c:pt idx="1">
                  <c:v>40</c:v>
                </c:pt>
              </c:numCache>
            </c:numRef>
          </c:val>
          <c:extLst>
            <c:ext xmlns:c16="http://schemas.microsoft.com/office/drawing/2014/chart" uri="{C3380CC4-5D6E-409C-BE32-E72D297353CC}">
              <c16:uniqueId val="{00000004-1DAC-2F43-8C7A-B0EE93D5D81F}"/>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nl-NL"/>
  <c:roundedCorners val="0"/>
  <c:style val="18"/>
  <c:chart>
    <c:autoTitleDeleted val="1"/>
    <c:plotArea>
      <c:layout>
        <c:manualLayout>
          <c:layoutTarget val="inner"/>
          <c:xMode val="edge"/>
          <c:yMode val="edge"/>
          <c:x val="5.0000000000000001E-3"/>
          <c:y val="5.0000000000000001E-3"/>
          <c:w val="0.99"/>
          <c:h val="0.98750000000000004"/>
        </c:manualLayout>
      </c:layout>
      <c:pieChart>
        <c:varyColors val="0"/>
        <c:ser>
          <c:idx val="0"/>
          <c:order val="0"/>
          <c:tx>
            <c:strRef>
              <c:f>Sheet1!$A$2</c:f>
              <c:strCache>
                <c:ptCount val="1"/>
                <c:pt idx="0">
                  <c:v>Region 1</c:v>
                </c:pt>
              </c:strCache>
            </c:strRef>
          </c:tx>
          <c:spPr>
            <a:solidFill>
              <a:srgbClr val="E75981"/>
            </a:solidFill>
            <a:ln w="12700" cap="flat">
              <a:noFill/>
              <a:miter lim="400000"/>
            </a:ln>
            <a:effectLst/>
          </c:spPr>
          <c:explosion val="1"/>
          <c:dPt>
            <c:idx val="0"/>
            <c:bubble3D val="0"/>
            <c:spPr>
              <a:solidFill>
                <a:schemeClr val="accent3"/>
              </a:solidFill>
              <a:ln w="12700" cap="flat">
                <a:noFill/>
                <a:miter lim="400000"/>
              </a:ln>
              <a:effectLst/>
            </c:spPr>
            <c:extLst>
              <c:ext xmlns:c16="http://schemas.microsoft.com/office/drawing/2014/chart" uri="{C3380CC4-5D6E-409C-BE32-E72D297353CC}">
                <c16:uniqueId val="{00000001-2D5D-EC4C-B2AA-DFA837EAA1DB}"/>
              </c:ext>
            </c:extLst>
          </c:dPt>
          <c:dPt>
            <c:idx val="1"/>
            <c:bubble3D val="0"/>
            <c:spPr>
              <a:solidFill>
                <a:srgbClr val="D5D9D9"/>
              </a:solidFill>
              <a:ln w="12700" cap="flat">
                <a:noFill/>
                <a:miter lim="400000"/>
              </a:ln>
              <a:effectLst/>
            </c:spPr>
            <c:extLst>
              <c:ext xmlns:c16="http://schemas.microsoft.com/office/drawing/2014/chart" uri="{C3380CC4-5D6E-409C-BE32-E72D297353CC}">
                <c16:uniqueId val="{00000003-2D5D-EC4C-B2AA-DFA837EAA1DB}"/>
              </c:ext>
            </c:extLst>
          </c:dPt>
          <c:cat>
            <c:strRef>
              <c:f>Sheet1!$B$1:$C$1</c:f>
              <c:strCache>
                <c:ptCount val="2"/>
                <c:pt idx="0">
                  <c:v>April</c:v>
                </c:pt>
                <c:pt idx="1">
                  <c:v>May</c:v>
                </c:pt>
              </c:strCache>
            </c:strRef>
          </c:cat>
          <c:val>
            <c:numRef>
              <c:f>Sheet1!$B$2:$C$2</c:f>
              <c:numCache>
                <c:formatCode>General</c:formatCode>
                <c:ptCount val="2"/>
                <c:pt idx="0">
                  <c:v>45</c:v>
                </c:pt>
                <c:pt idx="1">
                  <c:v>65</c:v>
                </c:pt>
              </c:numCache>
            </c:numRef>
          </c:val>
          <c:extLst>
            <c:ext xmlns:c16="http://schemas.microsoft.com/office/drawing/2014/chart" uri="{C3380CC4-5D6E-409C-BE32-E72D297353CC}">
              <c16:uniqueId val="{00000004-2D5D-EC4C-B2AA-DFA837EAA1DB}"/>
            </c:ext>
          </c:extLst>
        </c:ser>
        <c:dLbls>
          <c:showLegendKey val="0"/>
          <c:showVal val="0"/>
          <c:showCatName val="0"/>
          <c:showSerName val="0"/>
          <c:showPercent val="0"/>
          <c:showBubbleSize val="0"/>
          <c:showLeaderLines val="0"/>
        </c:dLbls>
        <c:firstSliceAng val="0"/>
      </c:pie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2"/>
                </a:solidFill>
                <a:latin typeface="+mj-lt"/>
                <a:ea typeface="+mn-ea"/>
                <a:cs typeface="+mn-cs"/>
              </a:defRPr>
            </a:pPr>
            <a:r>
              <a:rPr lang="en-US" sz="1400" dirty="0" err="1">
                <a:latin typeface="Crank 8 Plus Two" panose="02000506030000020004" pitchFamily="50" charset="0"/>
              </a:rPr>
              <a:t>Naam</a:t>
            </a:r>
            <a:r>
              <a:rPr lang="en-US" sz="1400" dirty="0">
                <a:latin typeface="Crank 8 Plus Two" panose="02000506030000020004" pitchFamily="50" charset="0"/>
              </a:rPr>
              <a:t> </a:t>
            </a:r>
            <a:r>
              <a:rPr lang="en-US" sz="1400" dirty="0" err="1">
                <a:latin typeface="Crank 8 Plus Two" panose="02000506030000020004" pitchFamily="50" charset="0"/>
              </a:rPr>
              <a:t>grafiek</a:t>
            </a:r>
            <a:endParaRPr lang="en-US" sz="1400" dirty="0">
              <a:latin typeface="Crank 8 Plus Two" panose="02000506030000020004" pitchFamily="50" charset="0"/>
            </a:endParaRPr>
          </a:p>
        </c:rich>
      </c:tx>
      <c:layout>
        <c:manualLayout>
          <c:xMode val="edge"/>
          <c:yMode val="edge"/>
          <c:x val="1.4076944345379899E-3"/>
          <c:y val="3.978053361513819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2"/>
              </a:solidFill>
              <a:latin typeface="+mj-lt"/>
              <a:ea typeface="+mn-ea"/>
              <a:cs typeface="+mn-cs"/>
            </a:defRPr>
          </a:pPr>
          <a:endParaRPr lang="nl-BE"/>
        </a:p>
      </c:txPr>
    </c:title>
    <c:autoTitleDeleted val="0"/>
    <c:plotArea>
      <c:layout>
        <c:manualLayout>
          <c:layoutTarget val="inner"/>
          <c:xMode val="edge"/>
          <c:yMode val="edge"/>
          <c:x val="8.8880130499527296E-2"/>
          <c:y val="0.20011251506327399"/>
          <c:w val="0.89621472203927199"/>
          <c:h val="0.69063280133739502"/>
        </c:manualLayout>
      </c:layout>
      <c:barChart>
        <c:barDir val="col"/>
        <c:grouping val="clustered"/>
        <c:varyColors val="1"/>
        <c:ser>
          <c:idx val="0"/>
          <c:order val="0"/>
          <c:tx>
            <c:strRef>
              <c:f>SALES!$I$15</c:f>
              <c:strCache>
                <c:ptCount val="1"/>
                <c:pt idx="0">
                  <c:v>Profit per Item (incl. shipping)</c:v>
                </c:pt>
              </c:strCache>
            </c:strRef>
          </c:tx>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5325-4B23-96D9-F2E72BB74576}"/>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5325-4B23-96D9-F2E72BB74576}"/>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5325-4B23-96D9-F2E72BB74576}"/>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5325-4B23-96D9-F2E72BB74576}"/>
              </c:ext>
            </c:extLst>
          </c:dPt>
          <c:dPt>
            <c:idx val="4"/>
            <c:invertIfNegative val="0"/>
            <c:bubble3D val="0"/>
            <c:spPr>
              <a:solidFill>
                <a:schemeClr val="tx2"/>
              </a:solidFill>
              <a:ln>
                <a:noFill/>
              </a:ln>
              <a:effectLst/>
            </c:spPr>
            <c:extLst>
              <c:ext xmlns:c16="http://schemas.microsoft.com/office/drawing/2014/chart" uri="{C3380CC4-5D6E-409C-BE32-E72D297353CC}">
                <c16:uniqueId val="{00000009-5325-4B23-96D9-F2E72BB74576}"/>
              </c:ext>
            </c:extLst>
          </c:dPt>
          <c:cat>
            <c:strRef>
              <c:f>SALES!$B$16:$B$21</c:f>
              <c:strCache>
                <c:ptCount val="5"/>
                <c:pt idx="0">
                  <c:v>[Item 1]</c:v>
                </c:pt>
                <c:pt idx="1">
                  <c:v>[Item 2]</c:v>
                </c:pt>
                <c:pt idx="2">
                  <c:v>[Item 3]</c:v>
                </c:pt>
                <c:pt idx="3">
                  <c:v>[Item 4]</c:v>
                </c:pt>
                <c:pt idx="4">
                  <c:v>[Item 5]</c:v>
                </c:pt>
              </c:strCache>
            </c:strRef>
          </c:cat>
          <c:val>
            <c:numRef>
              <c:f>SALES!$I$16:$I$21</c:f>
              <c:numCache>
                <c:formatCode>"$"###.000</c:formatCode>
                <c:ptCount val="5"/>
                <c:pt idx="0">
                  <c:v>14.25</c:v>
                </c:pt>
                <c:pt idx="1">
                  <c:v>12.875</c:v>
                </c:pt>
                <c:pt idx="2">
                  <c:v>12.2</c:v>
                </c:pt>
                <c:pt idx="3">
                  <c:v>6</c:v>
                </c:pt>
                <c:pt idx="4">
                  <c:v>5.35</c:v>
                </c:pt>
              </c:numCache>
            </c:numRef>
          </c:val>
          <c:extLst>
            <c:ext xmlns:c16="http://schemas.microsoft.com/office/drawing/2014/chart" uri="{C3380CC4-5D6E-409C-BE32-E72D297353CC}">
              <c16:uniqueId val="{0000000A-5325-4B23-96D9-F2E72BB74576}"/>
            </c:ext>
          </c:extLst>
        </c:ser>
        <c:dLbls>
          <c:showLegendKey val="0"/>
          <c:showVal val="0"/>
          <c:showCatName val="0"/>
          <c:showSerName val="0"/>
          <c:showPercent val="0"/>
          <c:showBubbleSize val="0"/>
        </c:dLbls>
        <c:gapWidth val="182"/>
        <c:axId val="-2118665088"/>
        <c:axId val="-2118641616"/>
      </c:barChart>
      <c:catAx>
        <c:axId val="-211866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nl-BE"/>
          </a:p>
        </c:txPr>
        <c:crossAx val="-2118641616"/>
        <c:crosses val="autoZero"/>
        <c:auto val="1"/>
        <c:lblAlgn val="ctr"/>
        <c:lblOffset val="100"/>
        <c:noMultiLvlLbl val="0"/>
      </c:catAx>
      <c:valAx>
        <c:axId val="-211864161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nl-BE"/>
          </a:p>
        </c:txPr>
        <c:crossAx val="-2118665088"/>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2"/>
          </a:solidFill>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04-20T10:52:31.887" idx="1">
    <p:pos x="10" y="10"/>
    <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4-20T10:52:40.139" idx="2">
    <p:pos x="10" y="10"/>
    <p:text>Sociale bijdragen zijn fiscaal aftrekbaar</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04-21T19:44:01.160" idx="3">
    <p:pos x="10" y="10"/>
    <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23F19E-66EC-4DD5-8047-BF75BC048EDD}" type="datetimeFigureOut">
              <a:rPr lang="nl-BE" smtClean="0"/>
              <a:t>22/04/2020</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5BB06A-B8D7-46C0-8C58-614269A0B7EC}" type="slidenum">
              <a:rPr lang="nl-BE" smtClean="0"/>
              <a:t>‹nr.›</a:t>
            </a:fld>
            <a:endParaRPr lang="nl-BE"/>
          </a:p>
        </p:txBody>
      </p:sp>
    </p:spTree>
    <p:extLst>
      <p:ext uri="{BB962C8B-B14F-4D97-AF65-F5344CB8AC3E}">
        <p14:creationId xmlns:p14="http://schemas.microsoft.com/office/powerpoint/2010/main" val="257848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200" kern="1200" dirty="0">
                <a:solidFill>
                  <a:schemeClr val="tx1"/>
                </a:solidFill>
                <a:latin typeface="+mn-lt"/>
                <a:ea typeface="+mn-ea"/>
                <a:cs typeface="+mn-cs"/>
              </a:rPr>
              <a:t>Sociale bijdragen zijn fiscaal aftrekbaar</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200" kern="1200" dirty="0">
                <a:solidFill>
                  <a:schemeClr val="tx1"/>
                </a:solidFill>
                <a:latin typeface="+mn-lt"/>
                <a:ea typeface="+mn-ea"/>
                <a:cs typeface="+mn-cs"/>
              </a:rPr>
              <a:t>VAPZ niet fiscaal aftrekbaar wanneer uitstel gevraagd wordt</a:t>
            </a:r>
          </a:p>
          <a:p>
            <a:endParaRPr lang="nl-BE" dirty="0"/>
          </a:p>
        </p:txBody>
      </p:sp>
      <p:sp>
        <p:nvSpPr>
          <p:cNvPr id="4" name="Slide Number Placeholder 3"/>
          <p:cNvSpPr>
            <a:spLocks noGrp="1"/>
          </p:cNvSpPr>
          <p:nvPr>
            <p:ph type="sldNum" sz="quarter" idx="5"/>
          </p:nvPr>
        </p:nvSpPr>
        <p:spPr/>
        <p:txBody>
          <a:bodyPr/>
          <a:lstStyle/>
          <a:p>
            <a:fld id="{895BB06A-B8D7-46C0-8C58-614269A0B7EC}" type="slidenum">
              <a:rPr lang="nl-BE" smtClean="0"/>
              <a:t>3</a:t>
            </a:fld>
            <a:endParaRPr lang="nl-BE"/>
          </a:p>
        </p:txBody>
      </p:sp>
    </p:spTree>
    <p:extLst>
      <p:ext uri="{BB962C8B-B14F-4D97-AF65-F5344CB8AC3E}">
        <p14:creationId xmlns:p14="http://schemas.microsoft.com/office/powerpoint/2010/main" val="15091391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895BB06A-B8D7-46C0-8C58-614269A0B7EC}" type="slidenum">
              <a:rPr lang="nl-BE" smtClean="0"/>
              <a:t>12</a:t>
            </a:fld>
            <a:endParaRPr lang="nl-BE"/>
          </a:p>
        </p:txBody>
      </p:sp>
    </p:spTree>
    <p:extLst>
      <p:ext uri="{BB962C8B-B14F-4D97-AF65-F5344CB8AC3E}">
        <p14:creationId xmlns:p14="http://schemas.microsoft.com/office/powerpoint/2010/main" val="2104504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p:txBody>
      </p:sp>
      <p:sp>
        <p:nvSpPr>
          <p:cNvPr id="4" name="Slide Number Placeholder 3"/>
          <p:cNvSpPr>
            <a:spLocks noGrp="1"/>
          </p:cNvSpPr>
          <p:nvPr>
            <p:ph type="sldNum" sz="quarter" idx="5"/>
          </p:nvPr>
        </p:nvSpPr>
        <p:spPr/>
        <p:txBody>
          <a:bodyPr/>
          <a:lstStyle/>
          <a:p>
            <a:fld id="{AAA70A8C-55CC-004A-AE14-74F577AF9929}" type="slidenum">
              <a:rPr lang="nl-NL" smtClean="0"/>
              <a:t>25</a:t>
            </a:fld>
            <a:endParaRPr lang="nl-NL"/>
          </a:p>
        </p:txBody>
      </p:sp>
    </p:spTree>
    <p:extLst>
      <p:ext uri="{BB962C8B-B14F-4D97-AF65-F5344CB8AC3E}">
        <p14:creationId xmlns:p14="http://schemas.microsoft.com/office/powerpoint/2010/main" val="2919565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A70A8C-55CC-004A-AE14-74F577AF992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2097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A70A8C-55CC-004A-AE14-74F577AF992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0635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A70A8C-55CC-004A-AE14-74F577AF992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3549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A70A8C-55CC-004A-AE14-74F577AF9929}"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99930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2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1.xml"/><Relationship Id="rId4" Type="http://schemas.openxmlformats.org/officeDocument/2006/relationships/chart" Target="../charts/chart3.xml"/></Relationships>
</file>

<file path=ppt/slideLayouts/_rels/slideLayout6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xml"/><Relationship Id="rId5" Type="http://schemas.openxmlformats.org/officeDocument/2006/relationships/image" Target="../media/image39.jpg"/><Relationship Id="rId4" Type="http://schemas.openxmlformats.org/officeDocument/2006/relationships/image" Target="../media/image38.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1.xml"/><Relationship Id="rId4" Type="http://schemas.openxmlformats.org/officeDocument/2006/relationships/image" Target="../media/image41.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9.jpg"/><Relationship Id="rId4" Type="http://schemas.openxmlformats.org/officeDocument/2006/relationships/image" Target="../media/image38.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36.png"/><Relationship Id="rId1" Type="http://schemas.openxmlformats.org/officeDocument/2006/relationships/slideMaster" Target="../slideMasters/slideMaster2.xml"/><Relationship Id="rId5" Type="http://schemas.openxmlformats.org/officeDocument/2006/relationships/image" Target="../media/image38.svg"/><Relationship Id="rId4" Type="http://schemas.openxmlformats.org/officeDocument/2006/relationships/image" Target="../media/image3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8.png"/><Relationship Id="rId1" Type="http://schemas.openxmlformats.org/officeDocument/2006/relationships/slideMaster" Target="../slideMasters/slideMaster2.xml"/><Relationship Id="rId4" Type="http://schemas.openxmlformats.org/officeDocument/2006/relationships/image" Target="../media/image38.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49.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41.sv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2.xml"/><Relationship Id="rId4" Type="http://schemas.openxmlformats.org/officeDocument/2006/relationships/image" Target="../media/image56.sv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60.svg"/><Relationship Id="rId2" Type="http://schemas.openxmlformats.org/officeDocument/2006/relationships/image" Target="../media/image36.png"/><Relationship Id="rId1" Type="http://schemas.openxmlformats.org/officeDocument/2006/relationships/slideMaster" Target="../slideMasters/slideMaster2.xml"/><Relationship Id="rId6" Type="http://schemas.openxmlformats.org/officeDocument/2006/relationships/image" Target="../media/image59.png"/><Relationship Id="rId11" Type="http://schemas.openxmlformats.org/officeDocument/2006/relationships/image" Target="../media/image64.svg"/><Relationship Id="rId5" Type="http://schemas.openxmlformats.org/officeDocument/2006/relationships/image" Target="../media/image58.sv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4.png"/><Relationship Id="rId1" Type="http://schemas.openxmlformats.org/officeDocument/2006/relationships/slideMaster" Target="../slideMasters/slideMaster2.xml"/><Relationship Id="rId4" Type="http://schemas.openxmlformats.org/officeDocument/2006/relationships/image" Target="../media/image66.sv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7B79F84-DCFE-A44D-BB38-5CD0402CDAE4}"/>
              </a:ext>
            </a:extLst>
          </p:cNvPr>
          <p:cNvSpPr/>
          <p:nvPr userDrawn="1"/>
        </p:nvSpPr>
        <p:spPr>
          <a:xfrm>
            <a:off x="4765965" y="-277"/>
            <a:ext cx="7426036" cy="68808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dirty="0"/>
          </a:p>
        </p:txBody>
      </p:sp>
      <p:sp>
        <p:nvSpPr>
          <p:cNvPr id="6" name="Title 2">
            <a:extLst>
              <a:ext uri="{FF2B5EF4-FFF2-40B4-BE49-F238E27FC236}">
                <a16:creationId xmlns:a16="http://schemas.microsoft.com/office/drawing/2014/main" id="{A8278171-9BC4-9444-A0D7-6E5E15AEBF7C}"/>
              </a:ext>
            </a:extLst>
          </p:cNvPr>
          <p:cNvSpPr>
            <a:spLocks noGrp="1"/>
          </p:cNvSpPr>
          <p:nvPr>
            <p:ph type="title" hasCustomPrompt="1"/>
          </p:nvPr>
        </p:nvSpPr>
        <p:spPr>
          <a:xfrm>
            <a:off x="7056108" y="4897501"/>
            <a:ext cx="4614921" cy="1508691"/>
          </a:xfrm>
          <a:prstGeom prst="rect">
            <a:avLst/>
          </a:prstGeom>
        </p:spPr>
        <p:txBody>
          <a:bodyPr lIns="0" rIns="0"/>
          <a:lstStyle>
            <a:lvl1pPr algn="r">
              <a:defRPr sz="4800" b="1">
                <a:solidFill>
                  <a:schemeClr val="bg1"/>
                </a:solidFill>
                <a:latin typeface="Crank 8 Plus Two" panose="02000506030000020004" pitchFamily="50" charset="0"/>
              </a:defRPr>
            </a:lvl1pPr>
          </a:lstStyle>
          <a:p>
            <a:r>
              <a:rPr lang="en-US" dirty="0" err="1"/>
              <a:t>Titelstijl</a:t>
            </a:r>
            <a:br>
              <a:rPr lang="en-US" dirty="0"/>
            </a:br>
            <a:r>
              <a:rPr lang="en-US" dirty="0" err="1"/>
              <a:t>bewerken</a:t>
            </a:r>
            <a:endParaRPr dirty="0"/>
          </a:p>
        </p:txBody>
      </p:sp>
      <p:pic>
        <p:nvPicPr>
          <p:cNvPr id="7" name="Picture 6">
            <a:extLst>
              <a:ext uri="{FF2B5EF4-FFF2-40B4-BE49-F238E27FC236}">
                <a16:creationId xmlns:a16="http://schemas.microsoft.com/office/drawing/2014/main" id="{56DE70CB-959E-B04F-B92C-5590CD4F29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0800000">
            <a:off x="0" y="-277"/>
            <a:ext cx="2784667" cy="6533007"/>
          </a:xfrm>
          <a:prstGeom prst="rect">
            <a:avLst/>
          </a:prstGeom>
        </p:spPr>
      </p:pic>
      <p:sp>
        <p:nvSpPr>
          <p:cNvPr id="9" name="Picture Placeholder 8">
            <a:extLst>
              <a:ext uri="{FF2B5EF4-FFF2-40B4-BE49-F238E27FC236}">
                <a16:creationId xmlns:a16="http://schemas.microsoft.com/office/drawing/2014/main" id="{50B2F3A2-DF93-084E-BA10-A5FD11605D84}"/>
              </a:ext>
            </a:extLst>
          </p:cNvPr>
          <p:cNvSpPr>
            <a:spLocks noGrp="1"/>
          </p:cNvSpPr>
          <p:nvPr>
            <p:ph type="pic" sz="quarter" idx="10"/>
          </p:nvPr>
        </p:nvSpPr>
        <p:spPr>
          <a:xfrm>
            <a:off x="-1019" y="1"/>
            <a:ext cx="9123852" cy="6880528"/>
          </a:xfrm>
          <a:custGeom>
            <a:avLst/>
            <a:gdLst>
              <a:gd name="connsiteX0" fmla="*/ 0 w 6842125"/>
              <a:gd name="connsiteY0" fmla="*/ 0 h 5143500"/>
              <a:gd name="connsiteX1" fmla="*/ 6842125 w 6842125"/>
              <a:gd name="connsiteY1" fmla="*/ 0 h 5143500"/>
              <a:gd name="connsiteX2" fmla="*/ 6842125 w 6842125"/>
              <a:gd name="connsiteY2" fmla="*/ 5143500 h 5143500"/>
              <a:gd name="connsiteX3" fmla="*/ 0 w 6842125"/>
              <a:gd name="connsiteY3" fmla="*/ 5143500 h 5143500"/>
              <a:gd name="connsiteX4" fmla="*/ 0 w 6842125"/>
              <a:gd name="connsiteY4" fmla="*/ 0 h 5143500"/>
              <a:gd name="connsiteX0" fmla="*/ 7951 w 6850076"/>
              <a:gd name="connsiteY0" fmla="*/ 0 h 5143500"/>
              <a:gd name="connsiteX1" fmla="*/ 6850076 w 6850076"/>
              <a:gd name="connsiteY1" fmla="*/ 0 h 5143500"/>
              <a:gd name="connsiteX2" fmla="*/ 6850076 w 6850076"/>
              <a:gd name="connsiteY2" fmla="*/ 5143500 h 5143500"/>
              <a:gd name="connsiteX3" fmla="*/ 7951 w 6850076"/>
              <a:gd name="connsiteY3" fmla="*/ 5143500 h 5143500"/>
              <a:gd name="connsiteX4" fmla="*/ 0 w 6850076"/>
              <a:gd name="connsiteY4" fmla="*/ 1272209 h 5143500"/>
              <a:gd name="connsiteX5" fmla="*/ 7951 w 6850076"/>
              <a:gd name="connsiteY5" fmla="*/ 0 h 5143500"/>
              <a:gd name="connsiteX0" fmla="*/ 7951 w 6850076"/>
              <a:gd name="connsiteY0" fmla="*/ 0 h 5143500"/>
              <a:gd name="connsiteX1" fmla="*/ 985961 w 6850076"/>
              <a:gd name="connsiteY1" fmla="*/ 7951 h 5143500"/>
              <a:gd name="connsiteX2" fmla="*/ 6850076 w 6850076"/>
              <a:gd name="connsiteY2" fmla="*/ 0 h 5143500"/>
              <a:gd name="connsiteX3" fmla="*/ 6850076 w 6850076"/>
              <a:gd name="connsiteY3" fmla="*/ 5143500 h 5143500"/>
              <a:gd name="connsiteX4" fmla="*/ 7951 w 6850076"/>
              <a:gd name="connsiteY4" fmla="*/ 5143500 h 5143500"/>
              <a:gd name="connsiteX5" fmla="*/ 0 w 6850076"/>
              <a:gd name="connsiteY5" fmla="*/ 1272209 h 5143500"/>
              <a:gd name="connsiteX6" fmla="*/ 7951 w 6850076"/>
              <a:gd name="connsiteY6" fmla="*/ 0 h 5143500"/>
              <a:gd name="connsiteX0" fmla="*/ 7951 w 6850076"/>
              <a:gd name="connsiteY0" fmla="*/ 0 h 5143500"/>
              <a:gd name="connsiteX1" fmla="*/ 985961 w 6850076"/>
              <a:gd name="connsiteY1" fmla="*/ 7951 h 5143500"/>
              <a:gd name="connsiteX2" fmla="*/ 6850076 w 6850076"/>
              <a:gd name="connsiteY2" fmla="*/ 0 h 5143500"/>
              <a:gd name="connsiteX3" fmla="*/ 6846073 w 6850076"/>
              <a:gd name="connsiteY3" fmla="*/ 2798859 h 5143500"/>
              <a:gd name="connsiteX4" fmla="*/ 6850076 w 6850076"/>
              <a:gd name="connsiteY4" fmla="*/ 5143500 h 5143500"/>
              <a:gd name="connsiteX5" fmla="*/ 7951 w 6850076"/>
              <a:gd name="connsiteY5" fmla="*/ 5143500 h 5143500"/>
              <a:gd name="connsiteX6" fmla="*/ 0 w 6850076"/>
              <a:gd name="connsiteY6" fmla="*/ 1272209 h 5143500"/>
              <a:gd name="connsiteX7" fmla="*/ 7951 w 6850076"/>
              <a:gd name="connsiteY7" fmla="*/ 0 h 5143500"/>
              <a:gd name="connsiteX0" fmla="*/ 7951 w 6850076"/>
              <a:gd name="connsiteY0" fmla="*/ 0 h 5152445"/>
              <a:gd name="connsiteX1" fmla="*/ 985961 w 6850076"/>
              <a:gd name="connsiteY1" fmla="*/ 7951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7951 w 6850076"/>
              <a:gd name="connsiteY8" fmla="*/ 0 h 5152445"/>
              <a:gd name="connsiteX0" fmla="*/ 866692 w 6850076"/>
              <a:gd name="connsiteY0" fmla="*/ 1017767 h 5152445"/>
              <a:gd name="connsiteX1" fmla="*/ 985961 w 6850076"/>
              <a:gd name="connsiteY1" fmla="*/ 7951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866692 w 6850076"/>
              <a:gd name="connsiteY8" fmla="*/ 1017767 h 5152445"/>
              <a:gd name="connsiteX0" fmla="*/ 1097280 w 6850076"/>
              <a:gd name="connsiteY0" fmla="*/ 1296063 h 5152445"/>
              <a:gd name="connsiteX1" fmla="*/ 985961 w 6850076"/>
              <a:gd name="connsiteY1" fmla="*/ 7951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1097280 w 6850076"/>
              <a:gd name="connsiteY8" fmla="*/ 1296063 h 5152445"/>
              <a:gd name="connsiteX0" fmla="*/ 1097280 w 6850076"/>
              <a:gd name="connsiteY0" fmla="*/ 1296063 h 5152445"/>
              <a:gd name="connsiteX1" fmla="*/ 2011679 w 6850076"/>
              <a:gd name="connsiteY1" fmla="*/ 0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1097280 w 6850076"/>
              <a:gd name="connsiteY8" fmla="*/ 1296063 h 5152445"/>
              <a:gd name="connsiteX0" fmla="*/ 1097280 w 6850076"/>
              <a:gd name="connsiteY0" fmla="*/ 1296063 h 5152445"/>
              <a:gd name="connsiteX1" fmla="*/ 2011679 w 6850076"/>
              <a:gd name="connsiteY1" fmla="*/ 0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1097280 w 6850076"/>
              <a:gd name="connsiteY8" fmla="*/ 1296063 h 5152445"/>
              <a:gd name="connsiteX0" fmla="*/ 1097280 w 6850076"/>
              <a:gd name="connsiteY0" fmla="*/ 1296063 h 5152445"/>
              <a:gd name="connsiteX1" fmla="*/ 2011679 w 6850076"/>
              <a:gd name="connsiteY1" fmla="*/ 0 h 5152445"/>
              <a:gd name="connsiteX2" fmla="*/ 6850076 w 6850076"/>
              <a:gd name="connsiteY2" fmla="*/ 0 h 5152445"/>
              <a:gd name="connsiteX3" fmla="*/ 6846073 w 6850076"/>
              <a:gd name="connsiteY3" fmla="*/ 2798859 h 5152445"/>
              <a:gd name="connsiteX4" fmla="*/ 6850076 w 6850076"/>
              <a:gd name="connsiteY4" fmla="*/ 5143500 h 5152445"/>
              <a:gd name="connsiteX5" fmla="*/ 5518205 w 6850076"/>
              <a:gd name="connsiteY5" fmla="*/ 5152445 h 5152445"/>
              <a:gd name="connsiteX6" fmla="*/ 7951 w 6850076"/>
              <a:gd name="connsiteY6" fmla="*/ 5143500 h 5152445"/>
              <a:gd name="connsiteX7" fmla="*/ 0 w 6850076"/>
              <a:gd name="connsiteY7" fmla="*/ 1272209 h 5152445"/>
              <a:gd name="connsiteX8" fmla="*/ 1097280 w 6850076"/>
              <a:gd name="connsiteY8" fmla="*/ 1296063 h 5152445"/>
              <a:gd name="connsiteX0" fmla="*/ 1089682 w 6842478"/>
              <a:gd name="connsiteY0" fmla="*/ 1296063 h 5152445"/>
              <a:gd name="connsiteX1" fmla="*/ 2004081 w 6842478"/>
              <a:gd name="connsiteY1" fmla="*/ 0 h 5152445"/>
              <a:gd name="connsiteX2" fmla="*/ 6842478 w 6842478"/>
              <a:gd name="connsiteY2" fmla="*/ 0 h 5152445"/>
              <a:gd name="connsiteX3" fmla="*/ 6838475 w 6842478"/>
              <a:gd name="connsiteY3" fmla="*/ 2798859 h 5152445"/>
              <a:gd name="connsiteX4" fmla="*/ 6842478 w 6842478"/>
              <a:gd name="connsiteY4" fmla="*/ 5143500 h 5152445"/>
              <a:gd name="connsiteX5" fmla="*/ 5510607 w 6842478"/>
              <a:gd name="connsiteY5" fmla="*/ 5152445 h 5152445"/>
              <a:gd name="connsiteX6" fmla="*/ 353 w 6842478"/>
              <a:gd name="connsiteY6" fmla="*/ 5143500 h 5152445"/>
              <a:gd name="connsiteX7" fmla="*/ 8305 w 6842478"/>
              <a:gd name="connsiteY7" fmla="*/ 2965837 h 5152445"/>
              <a:gd name="connsiteX8" fmla="*/ 1089682 w 6842478"/>
              <a:gd name="connsiteY8" fmla="*/ 1296063 h 5152445"/>
              <a:gd name="connsiteX0" fmla="*/ 1090093 w 6842889"/>
              <a:gd name="connsiteY0" fmla="*/ 1296063 h 5152445"/>
              <a:gd name="connsiteX1" fmla="*/ 2004492 w 6842889"/>
              <a:gd name="connsiteY1" fmla="*/ 0 h 5152445"/>
              <a:gd name="connsiteX2" fmla="*/ 6842889 w 6842889"/>
              <a:gd name="connsiteY2" fmla="*/ 0 h 5152445"/>
              <a:gd name="connsiteX3" fmla="*/ 6838886 w 6842889"/>
              <a:gd name="connsiteY3" fmla="*/ 2798859 h 5152445"/>
              <a:gd name="connsiteX4" fmla="*/ 6842889 w 6842889"/>
              <a:gd name="connsiteY4" fmla="*/ 5143500 h 5152445"/>
              <a:gd name="connsiteX5" fmla="*/ 5511018 w 6842889"/>
              <a:gd name="connsiteY5" fmla="*/ 5152445 h 5152445"/>
              <a:gd name="connsiteX6" fmla="*/ 764 w 6842889"/>
              <a:gd name="connsiteY6" fmla="*/ 5143500 h 5152445"/>
              <a:gd name="connsiteX7" fmla="*/ 765 w 6842889"/>
              <a:gd name="connsiteY7" fmla="*/ 2918129 h 5152445"/>
              <a:gd name="connsiteX8" fmla="*/ 1090093 w 6842889"/>
              <a:gd name="connsiteY8" fmla="*/ 1296063 h 5152445"/>
              <a:gd name="connsiteX0" fmla="*/ 1090093 w 6842889"/>
              <a:gd name="connsiteY0" fmla="*/ 1296063 h 5152445"/>
              <a:gd name="connsiteX1" fmla="*/ 2004492 w 6842889"/>
              <a:gd name="connsiteY1" fmla="*/ 0 h 5152445"/>
              <a:gd name="connsiteX2" fmla="*/ 6842889 w 6842889"/>
              <a:gd name="connsiteY2" fmla="*/ 0 h 5152445"/>
              <a:gd name="connsiteX3" fmla="*/ 6838886 w 6842889"/>
              <a:gd name="connsiteY3" fmla="*/ 2798859 h 5152445"/>
              <a:gd name="connsiteX4" fmla="*/ 6842889 w 6842889"/>
              <a:gd name="connsiteY4" fmla="*/ 5143500 h 5152445"/>
              <a:gd name="connsiteX5" fmla="*/ 5511018 w 6842889"/>
              <a:gd name="connsiteY5" fmla="*/ 5152445 h 5152445"/>
              <a:gd name="connsiteX6" fmla="*/ 764 w 6842889"/>
              <a:gd name="connsiteY6" fmla="*/ 5143500 h 5152445"/>
              <a:gd name="connsiteX7" fmla="*/ 765 w 6842889"/>
              <a:gd name="connsiteY7" fmla="*/ 2918129 h 5152445"/>
              <a:gd name="connsiteX8" fmla="*/ 1090093 w 6842889"/>
              <a:gd name="connsiteY8" fmla="*/ 1296063 h 5152445"/>
              <a:gd name="connsiteX0" fmla="*/ 1090093 w 6842889"/>
              <a:gd name="connsiteY0" fmla="*/ 1296063 h 5152445"/>
              <a:gd name="connsiteX1" fmla="*/ 2004492 w 6842889"/>
              <a:gd name="connsiteY1" fmla="*/ 0 h 5152445"/>
              <a:gd name="connsiteX2" fmla="*/ 6842889 w 6842889"/>
              <a:gd name="connsiteY2" fmla="*/ 0 h 5152445"/>
              <a:gd name="connsiteX3" fmla="*/ 6059658 w 6842889"/>
              <a:gd name="connsiteY3" fmla="*/ 2655735 h 5152445"/>
              <a:gd name="connsiteX4" fmla="*/ 6842889 w 6842889"/>
              <a:gd name="connsiteY4" fmla="*/ 5143500 h 5152445"/>
              <a:gd name="connsiteX5" fmla="*/ 5511018 w 6842889"/>
              <a:gd name="connsiteY5" fmla="*/ 5152445 h 5152445"/>
              <a:gd name="connsiteX6" fmla="*/ 764 w 6842889"/>
              <a:gd name="connsiteY6" fmla="*/ 5143500 h 5152445"/>
              <a:gd name="connsiteX7" fmla="*/ 765 w 6842889"/>
              <a:gd name="connsiteY7" fmla="*/ 2918129 h 5152445"/>
              <a:gd name="connsiteX8" fmla="*/ 1090093 w 6842889"/>
              <a:gd name="connsiteY8" fmla="*/ 1296063 h 5152445"/>
              <a:gd name="connsiteX0" fmla="*/ 1090093 w 6842889"/>
              <a:gd name="connsiteY0" fmla="*/ 1296063 h 5152445"/>
              <a:gd name="connsiteX1" fmla="*/ 2004492 w 6842889"/>
              <a:gd name="connsiteY1" fmla="*/ 0 h 5152445"/>
              <a:gd name="connsiteX2" fmla="*/ 6842889 w 6842889"/>
              <a:gd name="connsiteY2" fmla="*/ 0 h 5152445"/>
              <a:gd name="connsiteX3" fmla="*/ 6059658 w 6842889"/>
              <a:gd name="connsiteY3" fmla="*/ 2655735 h 5152445"/>
              <a:gd name="connsiteX4" fmla="*/ 6842889 w 6842889"/>
              <a:gd name="connsiteY4" fmla="*/ 5143500 h 5152445"/>
              <a:gd name="connsiteX5" fmla="*/ 5511018 w 6842889"/>
              <a:gd name="connsiteY5" fmla="*/ 5152445 h 5152445"/>
              <a:gd name="connsiteX6" fmla="*/ 764 w 6842889"/>
              <a:gd name="connsiteY6" fmla="*/ 5143500 h 5152445"/>
              <a:gd name="connsiteX7" fmla="*/ 765 w 6842889"/>
              <a:gd name="connsiteY7" fmla="*/ 2918129 h 5152445"/>
              <a:gd name="connsiteX8" fmla="*/ 1090093 w 6842889"/>
              <a:gd name="connsiteY8" fmla="*/ 1296063 h 5152445"/>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6842889 w 6842889"/>
              <a:gd name="connsiteY4" fmla="*/ 5143500 h 5160396"/>
              <a:gd name="connsiteX5" fmla="*/ 4254712 w 6842889"/>
              <a:gd name="connsiteY5" fmla="*/ 5160396 h 5160396"/>
              <a:gd name="connsiteX6" fmla="*/ 764 w 6842889"/>
              <a:gd name="connsiteY6" fmla="*/ 5143500 h 5160396"/>
              <a:gd name="connsiteX7" fmla="*/ 765 w 6842889"/>
              <a:gd name="connsiteY7" fmla="*/ 2918129 h 5160396"/>
              <a:gd name="connsiteX8" fmla="*/ 1090093 w 6842889"/>
              <a:gd name="connsiteY8"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4894820 w 6842889"/>
              <a:gd name="connsiteY4" fmla="*/ 4006463 h 5160396"/>
              <a:gd name="connsiteX5" fmla="*/ 4254712 w 6842889"/>
              <a:gd name="connsiteY5" fmla="*/ 5160396 h 5160396"/>
              <a:gd name="connsiteX6" fmla="*/ 764 w 6842889"/>
              <a:gd name="connsiteY6" fmla="*/ 5143500 h 5160396"/>
              <a:gd name="connsiteX7" fmla="*/ 765 w 6842889"/>
              <a:gd name="connsiteY7" fmla="*/ 2918129 h 5160396"/>
              <a:gd name="connsiteX8" fmla="*/ 1090093 w 6842889"/>
              <a:gd name="connsiteY8"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4894820 w 6842889"/>
              <a:gd name="connsiteY4" fmla="*/ 4006463 h 5160396"/>
              <a:gd name="connsiteX5" fmla="*/ 4254712 w 6842889"/>
              <a:gd name="connsiteY5" fmla="*/ 5160396 h 5160396"/>
              <a:gd name="connsiteX6" fmla="*/ 764 w 6842889"/>
              <a:gd name="connsiteY6" fmla="*/ 5143500 h 5160396"/>
              <a:gd name="connsiteX7" fmla="*/ 765 w 6842889"/>
              <a:gd name="connsiteY7" fmla="*/ 2918129 h 5160396"/>
              <a:gd name="connsiteX8" fmla="*/ 1090093 w 6842889"/>
              <a:gd name="connsiteY8"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5642243 w 6842889"/>
              <a:gd name="connsiteY4" fmla="*/ 4451736 h 5160396"/>
              <a:gd name="connsiteX5" fmla="*/ 4254712 w 6842889"/>
              <a:gd name="connsiteY5" fmla="*/ 5160396 h 5160396"/>
              <a:gd name="connsiteX6" fmla="*/ 764 w 6842889"/>
              <a:gd name="connsiteY6" fmla="*/ 5143500 h 5160396"/>
              <a:gd name="connsiteX7" fmla="*/ 765 w 6842889"/>
              <a:gd name="connsiteY7" fmla="*/ 2918129 h 5160396"/>
              <a:gd name="connsiteX8" fmla="*/ 1090093 w 6842889"/>
              <a:gd name="connsiteY8"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6262445 w 6842889"/>
              <a:gd name="connsiteY4" fmla="*/ 4873155 h 5160396"/>
              <a:gd name="connsiteX5" fmla="*/ 4254712 w 6842889"/>
              <a:gd name="connsiteY5" fmla="*/ 5160396 h 5160396"/>
              <a:gd name="connsiteX6" fmla="*/ 764 w 6842889"/>
              <a:gd name="connsiteY6" fmla="*/ 5143500 h 5160396"/>
              <a:gd name="connsiteX7" fmla="*/ 765 w 6842889"/>
              <a:gd name="connsiteY7" fmla="*/ 2918129 h 5160396"/>
              <a:gd name="connsiteX8" fmla="*/ 1090093 w 6842889"/>
              <a:gd name="connsiteY8"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59658 w 6842889"/>
              <a:gd name="connsiteY3" fmla="*/ 2655735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44986"/>
              <a:gd name="connsiteY0" fmla="*/ 1296063 h 5160396"/>
              <a:gd name="connsiteX1" fmla="*/ 2004492 w 6844986"/>
              <a:gd name="connsiteY1" fmla="*/ 0 h 5160396"/>
              <a:gd name="connsiteX2" fmla="*/ 6842889 w 6844986"/>
              <a:gd name="connsiteY2" fmla="*/ 0 h 5160396"/>
              <a:gd name="connsiteX3" fmla="*/ 6123268 w 6844986"/>
              <a:gd name="connsiteY3" fmla="*/ 2687540 h 5160396"/>
              <a:gd name="connsiteX4" fmla="*/ 4254712 w 6844986"/>
              <a:gd name="connsiteY4" fmla="*/ 5160396 h 5160396"/>
              <a:gd name="connsiteX5" fmla="*/ 764 w 6844986"/>
              <a:gd name="connsiteY5" fmla="*/ 5143500 h 5160396"/>
              <a:gd name="connsiteX6" fmla="*/ 765 w 6844986"/>
              <a:gd name="connsiteY6" fmla="*/ 2918129 h 5160396"/>
              <a:gd name="connsiteX7" fmla="*/ 1090093 w 6844986"/>
              <a:gd name="connsiteY7" fmla="*/ 1296063 h 5160396"/>
              <a:gd name="connsiteX0" fmla="*/ 1090093 w 6844986"/>
              <a:gd name="connsiteY0" fmla="*/ 1296063 h 5160396"/>
              <a:gd name="connsiteX1" fmla="*/ 2004492 w 6844986"/>
              <a:gd name="connsiteY1" fmla="*/ 0 h 5160396"/>
              <a:gd name="connsiteX2" fmla="*/ 6842889 w 6844986"/>
              <a:gd name="connsiteY2" fmla="*/ 0 h 5160396"/>
              <a:gd name="connsiteX3" fmla="*/ 6123268 w 6844986"/>
              <a:gd name="connsiteY3" fmla="*/ 2687540 h 5160396"/>
              <a:gd name="connsiteX4" fmla="*/ 4254712 w 6844986"/>
              <a:gd name="connsiteY4" fmla="*/ 5160396 h 5160396"/>
              <a:gd name="connsiteX5" fmla="*/ 764 w 6844986"/>
              <a:gd name="connsiteY5" fmla="*/ 5143500 h 5160396"/>
              <a:gd name="connsiteX6" fmla="*/ 765 w 6844986"/>
              <a:gd name="connsiteY6" fmla="*/ 2918129 h 5160396"/>
              <a:gd name="connsiteX7" fmla="*/ 1090093 w 6844986"/>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123268 w 6842889"/>
              <a:gd name="connsiteY3" fmla="*/ 2687540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90317 w 6842889"/>
              <a:gd name="connsiteY3" fmla="*/ 2646351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90317 w 6842889"/>
              <a:gd name="connsiteY3" fmla="*/ 2646351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 name="connsiteX0" fmla="*/ 1090093 w 6861644"/>
              <a:gd name="connsiteY0" fmla="*/ 1296063 h 5160396"/>
              <a:gd name="connsiteX1" fmla="*/ 2004492 w 6861644"/>
              <a:gd name="connsiteY1" fmla="*/ 0 h 5160396"/>
              <a:gd name="connsiteX2" fmla="*/ 6842889 w 6861644"/>
              <a:gd name="connsiteY2" fmla="*/ 0 h 5160396"/>
              <a:gd name="connsiteX3" fmla="*/ 6090317 w 6861644"/>
              <a:gd name="connsiteY3" fmla="*/ 2646351 h 5160396"/>
              <a:gd name="connsiteX4" fmla="*/ 4254712 w 6861644"/>
              <a:gd name="connsiteY4" fmla="*/ 5160396 h 5160396"/>
              <a:gd name="connsiteX5" fmla="*/ 764 w 6861644"/>
              <a:gd name="connsiteY5" fmla="*/ 5143500 h 5160396"/>
              <a:gd name="connsiteX6" fmla="*/ 765 w 6861644"/>
              <a:gd name="connsiteY6" fmla="*/ 2918129 h 5160396"/>
              <a:gd name="connsiteX7" fmla="*/ 1090093 w 6861644"/>
              <a:gd name="connsiteY7" fmla="*/ 1296063 h 5160396"/>
              <a:gd name="connsiteX0" fmla="*/ 1090093 w 6842889"/>
              <a:gd name="connsiteY0" fmla="*/ 1296063 h 5160396"/>
              <a:gd name="connsiteX1" fmla="*/ 2004492 w 6842889"/>
              <a:gd name="connsiteY1" fmla="*/ 0 h 5160396"/>
              <a:gd name="connsiteX2" fmla="*/ 6842889 w 6842889"/>
              <a:gd name="connsiteY2" fmla="*/ 0 h 5160396"/>
              <a:gd name="connsiteX3" fmla="*/ 6090317 w 6842889"/>
              <a:gd name="connsiteY3" fmla="*/ 2646351 h 5160396"/>
              <a:gd name="connsiteX4" fmla="*/ 4254712 w 6842889"/>
              <a:gd name="connsiteY4" fmla="*/ 5160396 h 5160396"/>
              <a:gd name="connsiteX5" fmla="*/ 764 w 6842889"/>
              <a:gd name="connsiteY5" fmla="*/ 5143500 h 5160396"/>
              <a:gd name="connsiteX6" fmla="*/ 765 w 6842889"/>
              <a:gd name="connsiteY6" fmla="*/ 2918129 h 5160396"/>
              <a:gd name="connsiteX7" fmla="*/ 1090093 w 6842889"/>
              <a:gd name="connsiteY7" fmla="*/ 1296063 h 5160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2889" h="5160396">
                <a:moveTo>
                  <a:pt x="1090093" y="1296063"/>
                </a:moveTo>
                <a:cubicBezTo>
                  <a:pt x="1458503" y="856090"/>
                  <a:pt x="1580422" y="837538"/>
                  <a:pt x="2004492" y="0"/>
                </a:cubicBezTo>
                <a:lnTo>
                  <a:pt x="6842889" y="0"/>
                </a:lnTo>
                <a:cubicBezTo>
                  <a:pt x="6816842" y="932953"/>
                  <a:pt x="6839073" y="1697495"/>
                  <a:pt x="6090317" y="2646351"/>
                </a:cubicBezTo>
                <a:cubicBezTo>
                  <a:pt x="5306518" y="3633709"/>
                  <a:pt x="4898768" y="3497414"/>
                  <a:pt x="4254712" y="5160396"/>
                </a:cubicBezTo>
                <a:lnTo>
                  <a:pt x="764" y="5143500"/>
                </a:lnTo>
                <a:cubicBezTo>
                  <a:pt x="-1886" y="3853070"/>
                  <a:pt x="3415" y="4208559"/>
                  <a:pt x="765" y="2918129"/>
                </a:cubicBezTo>
                <a:cubicBezTo>
                  <a:pt x="3415" y="2494059"/>
                  <a:pt x="729635" y="1624717"/>
                  <a:pt x="1090093" y="1296063"/>
                </a:cubicBezTo>
                <a:close/>
              </a:path>
            </a:pathLst>
          </a:custGeom>
          <a:solidFill>
            <a:schemeClr val="bg2"/>
          </a:solidFill>
        </p:spPr>
        <p:txBody>
          <a:bodyPr anchor="ctr"/>
          <a:lstStyle>
            <a:lvl1pPr marL="0" indent="0" algn="ctr">
              <a:buFont typeface="Arial" panose="020B0604020202020204" pitchFamily="34" charset="0"/>
              <a:buNone/>
              <a:defRPr/>
            </a:lvl1pPr>
          </a:lstStyle>
          <a:p>
            <a:r>
              <a:rPr lang="nl-NL" dirty="0"/>
              <a:t>Klik op het pictogram als u een afbeelding wilt toevoegen</a:t>
            </a:r>
            <a:endParaRPr dirty="0"/>
          </a:p>
        </p:txBody>
      </p:sp>
      <p:sp>
        <p:nvSpPr>
          <p:cNvPr id="19" name="Freeform: Shape 18">
            <a:extLst>
              <a:ext uri="{FF2B5EF4-FFF2-40B4-BE49-F238E27FC236}">
                <a16:creationId xmlns:a16="http://schemas.microsoft.com/office/drawing/2014/main" id="{69D3D017-27E5-41D1-BA79-D542316F06B3}"/>
              </a:ext>
            </a:extLst>
          </p:cNvPr>
          <p:cNvSpPr/>
          <p:nvPr/>
        </p:nvSpPr>
        <p:spPr>
          <a:xfrm>
            <a:off x="648443" y="651172"/>
            <a:ext cx="475823" cy="475823"/>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solidFill>
            <a:schemeClr val="accent1"/>
          </a:solid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C1DFB3D6-C4E8-43BB-8388-C4E76E73C760}"/>
              </a:ext>
            </a:extLst>
          </p:cNvPr>
          <p:cNvSpPr/>
          <p:nvPr/>
        </p:nvSpPr>
        <p:spPr>
          <a:xfrm>
            <a:off x="10513922" y="712075"/>
            <a:ext cx="1027679" cy="284512"/>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solidFill>
            <a:schemeClr val="bg1"/>
          </a:solidFill>
          <a:ln w="9525" cap="flat">
            <a:noFill/>
            <a:prstDash val="solid"/>
            <a:miter/>
          </a:ln>
        </p:spPr>
        <p:txBody>
          <a:bodyPr rtlCol="0" anchor="ctr"/>
          <a:lstStyle/>
          <a:p>
            <a:endParaRPr lang="en-GB" sz="2400" noProof="0" dirty="0"/>
          </a:p>
        </p:txBody>
      </p:sp>
    </p:spTree>
    <p:extLst>
      <p:ext uri="{BB962C8B-B14F-4D97-AF65-F5344CB8AC3E}">
        <p14:creationId xmlns:p14="http://schemas.microsoft.com/office/powerpoint/2010/main" val="304220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Cover slide">
    <p:bg>
      <p:bgPr>
        <a:solidFill>
          <a:schemeClr val="accent1"/>
        </a:solidFill>
        <a:effectLst/>
      </p:bgPr>
    </p:bg>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9E5663A0-09A5-4394-8E8B-17591E2470FC}"/>
              </a:ext>
            </a:extLst>
          </p:cNvPr>
          <p:cNvSpPr>
            <a:spLocks noGrp="1"/>
          </p:cNvSpPr>
          <p:nvPr>
            <p:ph type="pic" sz="quarter" idx="11" hasCustomPrompt="1"/>
          </p:nvPr>
        </p:nvSpPr>
        <p:spPr>
          <a:xfrm>
            <a:off x="-1019" y="0"/>
            <a:ext cx="12193020" cy="5807984"/>
          </a:xfrm>
          <a:custGeom>
            <a:avLst/>
            <a:gdLst>
              <a:gd name="connsiteX0" fmla="*/ 0 w 9144765"/>
              <a:gd name="connsiteY0" fmla="*/ 0 h 5160396"/>
              <a:gd name="connsiteX1" fmla="*/ 9144765 w 9144765"/>
              <a:gd name="connsiteY1" fmla="*/ 0 h 5160396"/>
              <a:gd name="connsiteX2" fmla="*/ 9144765 w 9144765"/>
              <a:gd name="connsiteY2" fmla="*/ 3895917 h 5160396"/>
              <a:gd name="connsiteX3" fmla="*/ 8788791 w 9144765"/>
              <a:gd name="connsiteY3" fmla="*/ 3952630 h 5160396"/>
              <a:gd name="connsiteX4" fmla="*/ 7456276 w 9144765"/>
              <a:gd name="connsiteY4" fmla="*/ 4219385 h 5160396"/>
              <a:gd name="connsiteX5" fmla="*/ 3029668 w 9144765"/>
              <a:gd name="connsiteY5" fmla="*/ 2044756 h 5160396"/>
              <a:gd name="connsiteX6" fmla="*/ 111751 w 9144765"/>
              <a:gd name="connsiteY6" fmla="*/ 1539596 h 5160396"/>
              <a:gd name="connsiteX7" fmla="*/ 455 w 9144765"/>
              <a:gd name="connsiteY7" fmla="*/ 1496811 h 5160396"/>
              <a:gd name="connsiteX8" fmla="*/ 455 w 9144765"/>
              <a:gd name="connsiteY8" fmla="*/ 5143499 h 5160396"/>
              <a:gd name="connsiteX9" fmla="*/ 9144765 w 9144765"/>
              <a:gd name="connsiteY9" fmla="*/ 5143499 h 5160396"/>
              <a:gd name="connsiteX10" fmla="*/ 9144765 w 9144765"/>
              <a:gd name="connsiteY10" fmla="*/ 5160396 h 5160396"/>
              <a:gd name="connsiteX11" fmla="*/ 0 w 9144765"/>
              <a:gd name="connsiteY11" fmla="*/ 5160396 h 5160396"/>
              <a:gd name="connsiteX0" fmla="*/ 0 w 9144765"/>
              <a:gd name="connsiteY0" fmla="*/ 0 h 5160396"/>
              <a:gd name="connsiteX1" fmla="*/ 9144765 w 9144765"/>
              <a:gd name="connsiteY1" fmla="*/ 0 h 5160396"/>
              <a:gd name="connsiteX2" fmla="*/ 9144765 w 9144765"/>
              <a:gd name="connsiteY2" fmla="*/ 3895917 h 5160396"/>
              <a:gd name="connsiteX3" fmla="*/ 8788791 w 9144765"/>
              <a:gd name="connsiteY3" fmla="*/ 3952630 h 5160396"/>
              <a:gd name="connsiteX4" fmla="*/ 7456276 w 9144765"/>
              <a:gd name="connsiteY4" fmla="*/ 4219385 h 5160396"/>
              <a:gd name="connsiteX5" fmla="*/ 3029668 w 9144765"/>
              <a:gd name="connsiteY5" fmla="*/ 2044756 h 5160396"/>
              <a:gd name="connsiteX6" fmla="*/ 111751 w 9144765"/>
              <a:gd name="connsiteY6" fmla="*/ 1539596 h 5160396"/>
              <a:gd name="connsiteX7" fmla="*/ 455 w 9144765"/>
              <a:gd name="connsiteY7" fmla="*/ 1496811 h 5160396"/>
              <a:gd name="connsiteX8" fmla="*/ 455 w 9144765"/>
              <a:gd name="connsiteY8" fmla="*/ 5143499 h 5160396"/>
              <a:gd name="connsiteX9" fmla="*/ 9144765 w 9144765"/>
              <a:gd name="connsiteY9" fmla="*/ 5143499 h 5160396"/>
              <a:gd name="connsiteX10" fmla="*/ 9144765 w 9144765"/>
              <a:gd name="connsiteY10" fmla="*/ 5160396 h 5160396"/>
              <a:gd name="connsiteX11" fmla="*/ 0 w 9144765"/>
              <a:gd name="connsiteY11" fmla="*/ 0 h 5160396"/>
              <a:gd name="connsiteX0" fmla="*/ 0 w 9144765"/>
              <a:gd name="connsiteY0" fmla="*/ 0 h 5160396"/>
              <a:gd name="connsiteX1" fmla="*/ 9144765 w 9144765"/>
              <a:gd name="connsiteY1" fmla="*/ 0 h 5160396"/>
              <a:gd name="connsiteX2" fmla="*/ 9144765 w 9144765"/>
              <a:gd name="connsiteY2" fmla="*/ 3895917 h 5160396"/>
              <a:gd name="connsiteX3" fmla="*/ 8788791 w 9144765"/>
              <a:gd name="connsiteY3" fmla="*/ 3952630 h 5160396"/>
              <a:gd name="connsiteX4" fmla="*/ 7456276 w 9144765"/>
              <a:gd name="connsiteY4" fmla="*/ 4219385 h 5160396"/>
              <a:gd name="connsiteX5" fmla="*/ 3029668 w 9144765"/>
              <a:gd name="connsiteY5" fmla="*/ 2044756 h 5160396"/>
              <a:gd name="connsiteX6" fmla="*/ 111751 w 9144765"/>
              <a:gd name="connsiteY6" fmla="*/ 1539596 h 5160396"/>
              <a:gd name="connsiteX7" fmla="*/ 455 w 9144765"/>
              <a:gd name="connsiteY7" fmla="*/ 1496811 h 5160396"/>
              <a:gd name="connsiteX8" fmla="*/ 9144765 w 9144765"/>
              <a:gd name="connsiteY8" fmla="*/ 5143499 h 5160396"/>
              <a:gd name="connsiteX9" fmla="*/ 9144765 w 9144765"/>
              <a:gd name="connsiteY9" fmla="*/ 5160396 h 5160396"/>
              <a:gd name="connsiteX10" fmla="*/ 0 w 9144765"/>
              <a:gd name="connsiteY10" fmla="*/ 0 h 5160396"/>
              <a:gd name="connsiteX0" fmla="*/ 0 w 9144765"/>
              <a:gd name="connsiteY0" fmla="*/ 0 h 5143499"/>
              <a:gd name="connsiteX1" fmla="*/ 9144765 w 9144765"/>
              <a:gd name="connsiteY1" fmla="*/ 0 h 5143499"/>
              <a:gd name="connsiteX2" fmla="*/ 9144765 w 9144765"/>
              <a:gd name="connsiteY2" fmla="*/ 3895917 h 5143499"/>
              <a:gd name="connsiteX3" fmla="*/ 8788791 w 9144765"/>
              <a:gd name="connsiteY3" fmla="*/ 3952630 h 5143499"/>
              <a:gd name="connsiteX4" fmla="*/ 7456276 w 9144765"/>
              <a:gd name="connsiteY4" fmla="*/ 4219385 h 5143499"/>
              <a:gd name="connsiteX5" fmla="*/ 3029668 w 9144765"/>
              <a:gd name="connsiteY5" fmla="*/ 2044756 h 5143499"/>
              <a:gd name="connsiteX6" fmla="*/ 111751 w 9144765"/>
              <a:gd name="connsiteY6" fmla="*/ 1539596 h 5143499"/>
              <a:gd name="connsiteX7" fmla="*/ 455 w 9144765"/>
              <a:gd name="connsiteY7" fmla="*/ 1496811 h 5143499"/>
              <a:gd name="connsiteX8" fmla="*/ 9144765 w 9144765"/>
              <a:gd name="connsiteY8" fmla="*/ 5143499 h 5143499"/>
              <a:gd name="connsiteX9" fmla="*/ 0 w 9144765"/>
              <a:gd name="connsiteY9" fmla="*/ 0 h 5143499"/>
              <a:gd name="connsiteX0" fmla="*/ 0 w 9144765"/>
              <a:gd name="connsiteY0" fmla="*/ 0 h 4355988"/>
              <a:gd name="connsiteX1" fmla="*/ 9144765 w 9144765"/>
              <a:gd name="connsiteY1" fmla="*/ 0 h 4355988"/>
              <a:gd name="connsiteX2" fmla="*/ 9144765 w 9144765"/>
              <a:gd name="connsiteY2" fmla="*/ 3895917 h 4355988"/>
              <a:gd name="connsiteX3" fmla="*/ 8788791 w 9144765"/>
              <a:gd name="connsiteY3" fmla="*/ 3952630 h 4355988"/>
              <a:gd name="connsiteX4" fmla="*/ 7456276 w 9144765"/>
              <a:gd name="connsiteY4" fmla="*/ 4219385 h 4355988"/>
              <a:gd name="connsiteX5" fmla="*/ 3029668 w 9144765"/>
              <a:gd name="connsiteY5" fmla="*/ 2044756 h 4355988"/>
              <a:gd name="connsiteX6" fmla="*/ 111751 w 9144765"/>
              <a:gd name="connsiteY6" fmla="*/ 1539596 h 4355988"/>
              <a:gd name="connsiteX7" fmla="*/ 455 w 9144765"/>
              <a:gd name="connsiteY7" fmla="*/ 1496811 h 4355988"/>
              <a:gd name="connsiteX8" fmla="*/ 0 w 9144765"/>
              <a:gd name="connsiteY8" fmla="*/ 0 h 435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765" h="4355988">
                <a:moveTo>
                  <a:pt x="0" y="0"/>
                </a:moveTo>
                <a:lnTo>
                  <a:pt x="9144765" y="0"/>
                </a:lnTo>
                <a:lnTo>
                  <a:pt x="9144765" y="3895917"/>
                </a:lnTo>
                <a:lnTo>
                  <a:pt x="8788791" y="3952630"/>
                </a:lnTo>
                <a:cubicBezTo>
                  <a:pt x="8229125" y="4046303"/>
                  <a:pt x="7740309" y="4145841"/>
                  <a:pt x="7456276" y="4219385"/>
                </a:cubicBezTo>
                <a:cubicBezTo>
                  <a:pt x="4931680" y="4874944"/>
                  <a:pt x="5627814" y="3009711"/>
                  <a:pt x="3029668" y="2044756"/>
                </a:cubicBezTo>
                <a:cubicBezTo>
                  <a:pt x="1581292" y="1507440"/>
                  <a:pt x="1378252" y="2002914"/>
                  <a:pt x="111751" y="1539596"/>
                </a:cubicBezTo>
                <a:lnTo>
                  <a:pt x="455" y="1496811"/>
                </a:lnTo>
                <a:cubicBezTo>
                  <a:pt x="303" y="997874"/>
                  <a:pt x="152" y="498937"/>
                  <a:pt x="0" y="0"/>
                </a:cubicBezTo>
                <a:close/>
              </a:path>
            </a:pathLst>
          </a:custGeom>
          <a:solidFill>
            <a:schemeClr val="bg2"/>
          </a:solidFill>
        </p:spPr>
        <p:txBody>
          <a:bodyPr wrap="square" anchor="t" anchorCtr="0">
            <a:noAutofit/>
          </a:bodyPr>
          <a:lstStyle>
            <a:lvl1pPr marL="0" indent="0" algn="l">
              <a:buFont typeface="Arial" panose="020B0604020202020204" pitchFamily="34" charset="0"/>
              <a:buNone/>
              <a:defRPr/>
            </a:lvl1pPr>
          </a:lstStyle>
          <a:p>
            <a:r>
              <a:rPr lang="nl-NL" dirty="0"/>
              <a:t>Klik op het pictogram als u een afbeelding wilt toevoegen</a:t>
            </a:r>
            <a:endParaRPr dirty="0"/>
          </a:p>
        </p:txBody>
      </p:sp>
      <p:sp>
        <p:nvSpPr>
          <p:cNvPr id="28" name="Freeform: Shape 27" hidden="1">
            <a:extLst>
              <a:ext uri="{FF2B5EF4-FFF2-40B4-BE49-F238E27FC236}">
                <a16:creationId xmlns:a16="http://schemas.microsoft.com/office/drawing/2014/main" id="{8F882AF3-0CB0-46C0-9221-3FF70B418E18}"/>
              </a:ext>
            </a:extLst>
          </p:cNvPr>
          <p:cNvSpPr/>
          <p:nvPr userDrawn="1"/>
        </p:nvSpPr>
        <p:spPr bwMode="auto">
          <a:xfrm>
            <a:off x="-827" y="1995751"/>
            <a:ext cx="12192828" cy="4862251"/>
          </a:xfrm>
          <a:custGeom>
            <a:avLst/>
            <a:gdLst>
              <a:gd name="connsiteX0" fmla="*/ 0 w 9144621"/>
              <a:gd name="connsiteY0" fmla="*/ 0 h 3646688"/>
              <a:gd name="connsiteX1" fmla="*/ 111296 w 9144621"/>
              <a:gd name="connsiteY1" fmla="*/ 42785 h 3646688"/>
              <a:gd name="connsiteX2" fmla="*/ 3029213 w 9144621"/>
              <a:gd name="connsiteY2" fmla="*/ 547945 h 3646688"/>
              <a:gd name="connsiteX3" fmla="*/ 7455821 w 9144621"/>
              <a:gd name="connsiteY3" fmla="*/ 2722574 h 3646688"/>
              <a:gd name="connsiteX4" fmla="*/ 8788336 w 9144621"/>
              <a:gd name="connsiteY4" fmla="*/ 2455819 h 3646688"/>
              <a:gd name="connsiteX5" fmla="*/ 9144621 w 9144621"/>
              <a:gd name="connsiteY5" fmla="*/ 2399056 h 3646688"/>
              <a:gd name="connsiteX6" fmla="*/ 9144621 w 9144621"/>
              <a:gd name="connsiteY6" fmla="*/ 3646688 h 3646688"/>
              <a:gd name="connsiteX7" fmla="*/ 0 w 9144621"/>
              <a:gd name="connsiteY7" fmla="*/ 3646688 h 364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621" h="3646688">
                <a:moveTo>
                  <a:pt x="0" y="0"/>
                </a:moveTo>
                <a:lnTo>
                  <a:pt x="111296" y="42785"/>
                </a:lnTo>
                <a:cubicBezTo>
                  <a:pt x="1377797" y="506103"/>
                  <a:pt x="1580837" y="10629"/>
                  <a:pt x="3029213" y="547945"/>
                </a:cubicBezTo>
                <a:cubicBezTo>
                  <a:pt x="5627359" y="1512900"/>
                  <a:pt x="4931225" y="3378133"/>
                  <a:pt x="7455821" y="2722574"/>
                </a:cubicBezTo>
                <a:cubicBezTo>
                  <a:pt x="7739854" y="2649030"/>
                  <a:pt x="8228670" y="2549492"/>
                  <a:pt x="8788336" y="2455819"/>
                </a:cubicBezTo>
                <a:lnTo>
                  <a:pt x="9144621" y="2399056"/>
                </a:lnTo>
                <a:lnTo>
                  <a:pt x="9144621" y="3646688"/>
                </a:lnTo>
                <a:lnTo>
                  <a:pt x="0" y="3646688"/>
                </a:lnTo>
                <a:close/>
              </a:path>
            </a:pathLst>
          </a:custGeom>
          <a:solidFill>
            <a:schemeClr val="accent1"/>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30" name="Freeform: Shape 29">
            <a:extLst>
              <a:ext uri="{FF2B5EF4-FFF2-40B4-BE49-F238E27FC236}">
                <a16:creationId xmlns:a16="http://schemas.microsoft.com/office/drawing/2014/main" id="{0F84CC81-86DE-4289-8090-6D7619EA50CC}"/>
              </a:ext>
            </a:extLst>
          </p:cNvPr>
          <p:cNvSpPr/>
          <p:nvPr userDrawn="1"/>
        </p:nvSpPr>
        <p:spPr bwMode="auto">
          <a:xfrm>
            <a:off x="5693101" y="4925582"/>
            <a:ext cx="6498900" cy="1932420"/>
          </a:xfrm>
          <a:custGeom>
            <a:avLst/>
            <a:gdLst>
              <a:gd name="connsiteX0" fmla="*/ 958939 w 4874175"/>
              <a:gd name="connsiteY0" fmla="*/ 0 h 1449315"/>
              <a:gd name="connsiteX1" fmla="*/ 999653 w 4874175"/>
              <a:gd name="connsiteY1" fmla="*/ 45580 h 1449315"/>
              <a:gd name="connsiteX2" fmla="*/ 3185376 w 4874175"/>
              <a:gd name="connsiteY2" fmla="*/ 525201 h 1449315"/>
              <a:gd name="connsiteX3" fmla="*/ 4517890 w 4874175"/>
              <a:gd name="connsiteY3" fmla="*/ 258446 h 1449315"/>
              <a:gd name="connsiteX4" fmla="*/ 4866212 w 4874175"/>
              <a:gd name="connsiteY4" fmla="*/ 202952 h 1449315"/>
              <a:gd name="connsiteX5" fmla="*/ 4866588 w 4874175"/>
              <a:gd name="connsiteY5" fmla="*/ 205415 h 1449315"/>
              <a:gd name="connsiteX6" fmla="*/ 4874175 w 4874175"/>
              <a:gd name="connsiteY6" fmla="*/ 242358 h 1449315"/>
              <a:gd name="connsiteX7" fmla="*/ 4874175 w 4874175"/>
              <a:gd name="connsiteY7" fmla="*/ 1449315 h 1449315"/>
              <a:gd name="connsiteX8" fmla="*/ 0 w 4874175"/>
              <a:gd name="connsiteY8" fmla="*/ 1449315 h 1449315"/>
              <a:gd name="connsiteX9" fmla="*/ 57412 w 4874175"/>
              <a:gd name="connsiteY9" fmla="*/ 1271088 h 1449315"/>
              <a:gd name="connsiteX10" fmla="*/ 161181 w 4874175"/>
              <a:gd name="connsiteY10" fmla="*/ 1029869 h 1449315"/>
              <a:gd name="connsiteX11" fmla="*/ 949042 w 4874175"/>
              <a:gd name="connsiteY11" fmla="*/ 15626 h 144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4175" h="1449315">
                <a:moveTo>
                  <a:pt x="958939" y="0"/>
                </a:moveTo>
                <a:lnTo>
                  <a:pt x="999653" y="45580"/>
                </a:lnTo>
                <a:cubicBezTo>
                  <a:pt x="1465962" y="550562"/>
                  <a:pt x="1923078" y="852981"/>
                  <a:pt x="3185376" y="525201"/>
                </a:cubicBezTo>
                <a:cubicBezTo>
                  <a:pt x="3469408" y="451657"/>
                  <a:pt x="3958225" y="352119"/>
                  <a:pt x="4517890" y="258446"/>
                </a:cubicBezTo>
                <a:lnTo>
                  <a:pt x="4866212" y="202952"/>
                </a:lnTo>
                <a:lnTo>
                  <a:pt x="4866588" y="205415"/>
                </a:lnTo>
                <a:lnTo>
                  <a:pt x="4874175" y="242358"/>
                </a:lnTo>
                <a:lnTo>
                  <a:pt x="4874175" y="1449315"/>
                </a:lnTo>
                <a:lnTo>
                  <a:pt x="0" y="1449315"/>
                </a:lnTo>
                <a:lnTo>
                  <a:pt x="57412" y="1271088"/>
                </a:lnTo>
                <a:cubicBezTo>
                  <a:pt x="86324" y="1193952"/>
                  <a:pt x="120605" y="1113636"/>
                  <a:pt x="161181" y="1029869"/>
                </a:cubicBezTo>
                <a:cubicBezTo>
                  <a:pt x="462334" y="406962"/>
                  <a:pt x="695132" y="382890"/>
                  <a:pt x="949042" y="15626"/>
                </a:cubicBezTo>
                <a:close/>
              </a:path>
            </a:pathLst>
          </a:custGeom>
          <a:solidFill>
            <a:schemeClr val="accent5"/>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21" name="Title 2">
            <a:extLst>
              <a:ext uri="{FF2B5EF4-FFF2-40B4-BE49-F238E27FC236}">
                <a16:creationId xmlns:a16="http://schemas.microsoft.com/office/drawing/2014/main" id="{DD845AAB-3F68-44B2-B45B-94368D2C5838}"/>
              </a:ext>
            </a:extLst>
          </p:cNvPr>
          <p:cNvSpPr>
            <a:spLocks noGrp="1"/>
          </p:cNvSpPr>
          <p:nvPr>
            <p:ph type="title" hasCustomPrompt="1"/>
          </p:nvPr>
        </p:nvSpPr>
        <p:spPr>
          <a:xfrm>
            <a:off x="524542" y="3525011"/>
            <a:ext cx="4550733" cy="1698847"/>
          </a:xfrm>
          <a:prstGeom prst="rect">
            <a:avLst/>
          </a:prstGeom>
        </p:spPr>
        <p:txBody>
          <a:bodyPr anchor="b" anchorCtr="0"/>
          <a:lstStyle>
            <a:lvl1pPr algn="l">
              <a:defRPr sz="3733">
                <a:solidFill>
                  <a:schemeClr val="bg1"/>
                </a:solidFill>
                <a:latin typeface="Crank 8 Plus Two" panose="02000506030000020004" pitchFamily="50" charset="0"/>
              </a:defRPr>
            </a:lvl1pPr>
          </a:lstStyle>
          <a:p>
            <a:r>
              <a:rPr lang="en-US" dirty="0"/>
              <a:t>Click to edit master text style</a:t>
            </a:r>
            <a:endParaRPr dirty="0"/>
          </a:p>
        </p:txBody>
      </p:sp>
      <p:sp>
        <p:nvSpPr>
          <p:cNvPr id="22" name="Text Placeholder 14">
            <a:extLst>
              <a:ext uri="{FF2B5EF4-FFF2-40B4-BE49-F238E27FC236}">
                <a16:creationId xmlns:a16="http://schemas.microsoft.com/office/drawing/2014/main" id="{37D40593-E485-4F48-B528-B6B51B405979}"/>
              </a:ext>
            </a:extLst>
          </p:cNvPr>
          <p:cNvSpPr>
            <a:spLocks noGrp="1"/>
          </p:cNvSpPr>
          <p:nvPr>
            <p:ph type="body" sz="quarter" idx="10" hasCustomPrompt="1"/>
          </p:nvPr>
        </p:nvSpPr>
        <p:spPr>
          <a:xfrm>
            <a:off x="525706" y="5475564"/>
            <a:ext cx="4549569" cy="731264"/>
          </a:xfrm>
          <a:prstGeom prst="rect">
            <a:avLst/>
          </a:prstGeom>
        </p:spPr>
        <p:txBody>
          <a:bodyPr/>
          <a:lstStyle>
            <a:lvl1pPr marL="0" indent="0">
              <a:buNone/>
              <a:defRPr sz="1867">
                <a:solidFill>
                  <a:schemeClr val="bg1"/>
                </a:solidFill>
                <a:latin typeface="+mn-lt"/>
              </a:defRPr>
            </a:lvl1pPr>
          </a:lstStyle>
          <a:p>
            <a:pPr lvl="0"/>
            <a:r>
              <a:rPr lang="nl-BE" dirty="0"/>
              <a:t>Click to add text</a:t>
            </a:r>
            <a:endParaRPr dirty="0"/>
          </a:p>
        </p:txBody>
      </p:sp>
      <p:sp>
        <p:nvSpPr>
          <p:cNvPr id="11" name="Text Placeholder 4">
            <a:extLst>
              <a:ext uri="{FF2B5EF4-FFF2-40B4-BE49-F238E27FC236}">
                <a16:creationId xmlns:a16="http://schemas.microsoft.com/office/drawing/2014/main" id="{EBDD537B-262D-493C-B619-4B401B853CF2}"/>
              </a:ext>
            </a:extLst>
          </p:cNvPr>
          <p:cNvSpPr>
            <a:spLocks noGrp="1" noChangeAspect="1"/>
          </p:cNvSpPr>
          <p:nvPr>
            <p:ph type="body" sz="quarter" idx="12" hasCustomPrompt="1"/>
          </p:nvPr>
        </p:nvSpPr>
        <p:spPr>
          <a:xfrm>
            <a:off x="9938880" y="651173"/>
            <a:ext cx="1602720" cy="4752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0" tIns="0" rIns="0" bIns="0"/>
          <a:lstStyle>
            <a:lvl1pPr marL="0" indent="0">
              <a:buNone/>
              <a:defRPr sz="800">
                <a:solidFill>
                  <a:schemeClr val="bg1">
                    <a:alpha val="0"/>
                  </a:schemeClr>
                </a:solidFill>
              </a:defRPr>
            </a:lvl1pPr>
          </a:lstStyle>
          <a:p>
            <a:pPr lvl="0"/>
            <a:r>
              <a:rPr lang="en-US" dirty="0"/>
              <a:t>x</a:t>
            </a:r>
            <a:endParaRPr lang="nl-BE" dirty="0"/>
          </a:p>
        </p:txBody>
      </p:sp>
    </p:spTree>
    <p:extLst>
      <p:ext uri="{BB962C8B-B14F-4D97-AF65-F5344CB8AC3E}">
        <p14:creationId xmlns:p14="http://schemas.microsoft.com/office/powerpoint/2010/main" val="249677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oudstafel">
    <p:spTree>
      <p:nvGrpSpPr>
        <p:cNvPr id="1" name=""/>
        <p:cNvGrpSpPr/>
        <p:nvPr/>
      </p:nvGrpSpPr>
      <p:grpSpPr>
        <a:xfrm>
          <a:off x="0" y="0"/>
          <a:ext cx="0" cy="0"/>
          <a:chOff x="0" y="0"/>
          <a:chExt cx="0" cy="0"/>
        </a:xfrm>
      </p:grpSpPr>
      <p:sp>
        <p:nvSpPr>
          <p:cNvPr id="6" name="Oval 11">
            <a:extLst>
              <a:ext uri="{FF2B5EF4-FFF2-40B4-BE49-F238E27FC236}">
                <a16:creationId xmlns:a16="http://schemas.microsoft.com/office/drawing/2014/main" id="{F707FE1F-B10F-2543-A718-40A36CD6BAB1}"/>
              </a:ext>
            </a:extLst>
          </p:cNvPr>
          <p:cNvSpPr/>
          <p:nvPr userDrawn="1"/>
        </p:nvSpPr>
        <p:spPr>
          <a:xfrm>
            <a:off x="647609" y="1627271"/>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1</a:t>
            </a:r>
          </a:p>
        </p:txBody>
      </p:sp>
      <p:sp>
        <p:nvSpPr>
          <p:cNvPr id="8" name="Oval 11">
            <a:extLst>
              <a:ext uri="{FF2B5EF4-FFF2-40B4-BE49-F238E27FC236}">
                <a16:creationId xmlns:a16="http://schemas.microsoft.com/office/drawing/2014/main" id="{D269ACED-789B-2547-84D6-A6207F751AE9}"/>
              </a:ext>
            </a:extLst>
          </p:cNvPr>
          <p:cNvSpPr/>
          <p:nvPr userDrawn="1"/>
        </p:nvSpPr>
        <p:spPr>
          <a:xfrm>
            <a:off x="4563066" y="1604796"/>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2</a:t>
            </a:r>
          </a:p>
        </p:txBody>
      </p:sp>
      <p:sp>
        <p:nvSpPr>
          <p:cNvPr id="10" name="Oval 11">
            <a:extLst>
              <a:ext uri="{FF2B5EF4-FFF2-40B4-BE49-F238E27FC236}">
                <a16:creationId xmlns:a16="http://schemas.microsoft.com/office/drawing/2014/main" id="{B19DB62F-FC6D-B646-83C5-2808D6068C11}"/>
              </a:ext>
            </a:extLst>
          </p:cNvPr>
          <p:cNvSpPr/>
          <p:nvPr userDrawn="1"/>
        </p:nvSpPr>
        <p:spPr>
          <a:xfrm>
            <a:off x="647609" y="3788361"/>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4</a:t>
            </a:r>
          </a:p>
        </p:txBody>
      </p:sp>
      <p:sp>
        <p:nvSpPr>
          <p:cNvPr id="12" name="Oval 11">
            <a:extLst>
              <a:ext uri="{FF2B5EF4-FFF2-40B4-BE49-F238E27FC236}">
                <a16:creationId xmlns:a16="http://schemas.microsoft.com/office/drawing/2014/main" id="{3690D0C9-EA51-F946-B249-AF0340CECB38}"/>
              </a:ext>
            </a:extLst>
          </p:cNvPr>
          <p:cNvSpPr/>
          <p:nvPr userDrawn="1"/>
        </p:nvSpPr>
        <p:spPr>
          <a:xfrm>
            <a:off x="4563066" y="3788361"/>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5</a:t>
            </a:r>
          </a:p>
        </p:txBody>
      </p:sp>
      <p:sp>
        <p:nvSpPr>
          <p:cNvPr id="14" name="Oval 11">
            <a:extLst>
              <a:ext uri="{FF2B5EF4-FFF2-40B4-BE49-F238E27FC236}">
                <a16:creationId xmlns:a16="http://schemas.microsoft.com/office/drawing/2014/main" id="{26777EE4-B5DA-644E-B6D7-967B4E4404D3}"/>
              </a:ext>
            </a:extLst>
          </p:cNvPr>
          <p:cNvSpPr/>
          <p:nvPr userDrawn="1"/>
        </p:nvSpPr>
        <p:spPr>
          <a:xfrm>
            <a:off x="8421924" y="1604796"/>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3</a:t>
            </a:r>
          </a:p>
        </p:txBody>
      </p:sp>
      <p:sp>
        <p:nvSpPr>
          <p:cNvPr id="16" name="Oval 11">
            <a:extLst>
              <a:ext uri="{FF2B5EF4-FFF2-40B4-BE49-F238E27FC236}">
                <a16:creationId xmlns:a16="http://schemas.microsoft.com/office/drawing/2014/main" id="{63444271-C17B-2D47-99B6-F238BA6303DE}"/>
              </a:ext>
            </a:extLst>
          </p:cNvPr>
          <p:cNvSpPr/>
          <p:nvPr userDrawn="1"/>
        </p:nvSpPr>
        <p:spPr>
          <a:xfrm>
            <a:off x="8421924" y="3788361"/>
            <a:ext cx="552609" cy="543280"/>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noProof="0">
                <a:solidFill>
                  <a:schemeClr val="bg1"/>
                </a:solidFill>
                <a:latin typeface="Crank 8 Plus Two" panose="02000506030000020004" pitchFamily="50" charset="0"/>
                <a:ea typeface="Roboto" charset="0"/>
                <a:cs typeface="Roboto" charset="0"/>
              </a:rPr>
              <a:t>6</a:t>
            </a:r>
          </a:p>
        </p:txBody>
      </p:sp>
      <p:sp>
        <p:nvSpPr>
          <p:cNvPr id="23" name="Text Placeholder 22">
            <a:extLst>
              <a:ext uri="{FF2B5EF4-FFF2-40B4-BE49-F238E27FC236}">
                <a16:creationId xmlns:a16="http://schemas.microsoft.com/office/drawing/2014/main" id="{B3E55CDB-BD7F-E947-8596-846F6AE7033D}"/>
              </a:ext>
            </a:extLst>
          </p:cNvPr>
          <p:cNvSpPr>
            <a:spLocks noGrp="1"/>
          </p:cNvSpPr>
          <p:nvPr>
            <p:ph type="body" sz="quarter" idx="10" hasCustomPrompt="1"/>
          </p:nvPr>
        </p:nvSpPr>
        <p:spPr>
          <a:xfrm>
            <a:off x="1272093" y="1679698"/>
            <a:ext cx="2667184"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28" name="Text Placeholder 27">
            <a:extLst>
              <a:ext uri="{FF2B5EF4-FFF2-40B4-BE49-F238E27FC236}">
                <a16:creationId xmlns:a16="http://schemas.microsoft.com/office/drawing/2014/main" id="{C1D3D55F-D60C-B743-B936-920C9234CEAD}"/>
              </a:ext>
            </a:extLst>
          </p:cNvPr>
          <p:cNvSpPr>
            <a:spLocks noGrp="1"/>
          </p:cNvSpPr>
          <p:nvPr>
            <p:ph type="body" sz="quarter" idx="11" hasCustomPrompt="1"/>
          </p:nvPr>
        </p:nvSpPr>
        <p:spPr>
          <a:xfrm>
            <a:off x="1272094" y="2171843"/>
            <a:ext cx="2667623"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sp>
        <p:nvSpPr>
          <p:cNvPr id="29" name="Text Placeholder 22">
            <a:extLst>
              <a:ext uri="{FF2B5EF4-FFF2-40B4-BE49-F238E27FC236}">
                <a16:creationId xmlns:a16="http://schemas.microsoft.com/office/drawing/2014/main" id="{69378617-C409-0B49-90B6-B50B8962BE47}"/>
              </a:ext>
            </a:extLst>
          </p:cNvPr>
          <p:cNvSpPr>
            <a:spLocks noGrp="1"/>
          </p:cNvSpPr>
          <p:nvPr>
            <p:ph type="body" sz="quarter" idx="12" hasCustomPrompt="1"/>
          </p:nvPr>
        </p:nvSpPr>
        <p:spPr>
          <a:xfrm>
            <a:off x="5156569" y="1679698"/>
            <a:ext cx="2667184"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30" name="Text Placeholder 27">
            <a:extLst>
              <a:ext uri="{FF2B5EF4-FFF2-40B4-BE49-F238E27FC236}">
                <a16:creationId xmlns:a16="http://schemas.microsoft.com/office/drawing/2014/main" id="{5A195D61-EE1C-2B44-A4AD-35A2DA76D403}"/>
              </a:ext>
            </a:extLst>
          </p:cNvPr>
          <p:cNvSpPr>
            <a:spLocks noGrp="1"/>
          </p:cNvSpPr>
          <p:nvPr>
            <p:ph type="body" sz="quarter" idx="13" hasCustomPrompt="1"/>
          </p:nvPr>
        </p:nvSpPr>
        <p:spPr>
          <a:xfrm>
            <a:off x="5156570" y="2171843"/>
            <a:ext cx="2667623"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sp>
        <p:nvSpPr>
          <p:cNvPr id="31" name="Text Placeholder 22">
            <a:extLst>
              <a:ext uri="{FF2B5EF4-FFF2-40B4-BE49-F238E27FC236}">
                <a16:creationId xmlns:a16="http://schemas.microsoft.com/office/drawing/2014/main" id="{B79B398A-7B1C-5746-89FD-9BFF831248C2}"/>
              </a:ext>
            </a:extLst>
          </p:cNvPr>
          <p:cNvSpPr>
            <a:spLocks noGrp="1"/>
          </p:cNvSpPr>
          <p:nvPr>
            <p:ph type="body" sz="quarter" idx="14" hasCustomPrompt="1"/>
          </p:nvPr>
        </p:nvSpPr>
        <p:spPr>
          <a:xfrm>
            <a:off x="9007911" y="1679698"/>
            <a:ext cx="2649940"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32" name="Text Placeholder 27">
            <a:extLst>
              <a:ext uri="{FF2B5EF4-FFF2-40B4-BE49-F238E27FC236}">
                <a16:creationId xmlns:a16="http://schemas.microsoft.com/office/drawing/2014/main" id="{406D4FAE-E59F-564D-9F94-BAB27AA6C5AA}"/>
              </a:ext>
            </a:extLst>
          </p:cNvPr>
          <p:cNvSpPr>
            <a:spLocks noGrp="1"/>
          </p:cNvSpPr>
          <p:nvPr>
            <p:ph type="body" sz="quarter" idx="15" hasCustomPrompt="1"/>
          </p:nvPr>
        </p:nvSpPr>
        <p:spPr>
          <a:xfrm>
            <a:off x="9007912" y="2171843"/>
            <a:ext cx="2650376"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sp>
        <p:nvSpPr>
          <p:cNvPr id="33" name="Text Placeholder 22">
            <a:extLst>
              <a:ext uri="{FF2B5EF4-FFF2-40B4-BE49-F238E27FC236}">
                <a16:creationId xmlns:a16="http://schemas.microsoft.com/office/drawing/2014/main" id="{71BA2C20-98FF-8542-BEAE-893E62E66219}"/>
              </a:ext>
            </a:extLst>
          </p:cNvPr>
          <p:cNvSpPr>
            <a:spLocks noGrp="1"/>
          </p:cNvSpPr>
          <p:nvPr>
            <p:ph type="body" sz="quarter" idx="16" hasCustomPrompt="1"/>
          </p:nvPr>
        </p:nvSpPr>
        <p:spPr>
          <a:xfrm>
            <a:off x="1272093" y="3895155"/>
            <a:ext cx="2667184"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34" name="Text Placeholder 27">
            <a:extLst>
              <a:ext uri="{FF2B5EF4-FFF2-40B4-BE49-F238E27FC236}">
                <a16:creationId xmlns:a16="http://schemas.microsoft.com/office/drawing/2014/main" id="{65E74E06-AF20-DA45-86AC-7CA5151F6C8C}"/>
              </a:ext>
            </a:extLst>
          </p:cNvPr>
          <p:cNvSpPr>
            <a:spLocks noGrp="1"/>
          </p:cNvSpPr>
          <p:nvPr>
            <p:ph type="body" sz="quarter" idx="17" hasCustomPrompt="1"/>
          </p:nvPr>
        </p:nvSpPr>
        <p:spPr>
          <a:xfrm>
            <a:off x="1272094" y="4387300"/>
            <a:ext cx="2667623"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sp>
        <p:nvSpPr>
          <p:cNvPr id="35" name="Text Placeholder 22">
            <a:extLst>
              <a:ext uri="{FF2B5EF4-FFF2-40B4-BE49-F238E27FC236}">
                <a16:creationId xmlns:a16="http://schemas.microsoft.com/office/drawing/2014/main" id="{516582A9-B0A4-954D-8037-302E6923CADF}"/>
              </a:ext>
            </a:extLst>
          </p:cNvPr>
          <p:cNvSpPr>
            <a:spLocks noGrp="1"/>
          </p:cNvSpPr>
          <p:nvPr>
            <p:ph type="body" sz="quarter" idx="18" hasCustomPrompt="1"/>
          </p:nvPr>
        </p:nvSpPr>
        <p:spPr>
          <a:xfrm>
            <a:off x="5156569" y="3877487"/>
            <a:ext cx="2667184"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36" name="Text Placeholder 27">
            <a:extLst>
              <a:ext uri="{FF2B5EF4-FFF2-40B4-BE49-F238E27FC236}">
                <a16:creationId xmlns:a16="http://schemas.microsoft.com/office/drawing/2014/main" id="{B4976C3C-FB44-FB43-B45D-58C05567706A}"/>
              </a:ext>
            </a:extLst>
          </p:cNvPr>
          <p:cNvSpPr>
            <a:spLocks noGrp="1"/>
          </p:cNvSpPr>
          <p:nvPr>
            <p:ph type="body" sz="quarter" idx="19" hasCustomPrompt="1"/>
          </p:nvPr>
        </p:nvSpPr>
        <p:spPr>
          <a:xfrm>
            <a:off x="5156570" y="4369632"/>
            <a:ext cx="2667623"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sp>
        <p:nvSpPr>
          <p:cNvPr id="37" name="Text Placeholder 22">
            <a:extLst>
              <a:ext uri="{FF2B5EF4-FFF2-40B4-BE49-F238E27FC236}">
                <a16:creationId xmlns:a16="http://schemas.microsoft.com/office/drawing/2014/main" id="{7D619E3F-B162-BB4B-A5AD-D2E5C130CA48}"/>
              </a:ext>
            </a:extLst>
          </p:cNvPr>
          <p:cNvSpPr>
            <a:spLocks noGrp="1"/>
          </p:cNvSpPr>
          <p:nvPr>
            <p:ph type="body" sz="quarter" idx="20" hasCustomPrompt="1"/>
          </p:nvPr>
        </p:nvSpPr>
        <p:spPr>
          <a:xfrm>
            <a:off x="9007911" y="3859816"/>
            <a:ext cx="2649940" cy="383717"/>
          </a:xfrm>
          <a:prstGeom prst="rect">
            <a:avLst/>
          </a:prstGeom>
        </p:spPr>
        <p:txBody>
          <a:bodyPr lIns="90000" anchor="ctr" anchorCtr="0">
            <a:noAutofit/>
          </a:bodyPr>
          <a:lstStyle>
            <a:lvl1pPr marL="0" indent="0">
              <a:buNone/>
              <a:defRPr sz="1867" b="1">
                <a:solidFill>
                  <a:schemeClr val="tx2"/>
                </a:solidFill>
                <a:latin typeface="Crank 8 Plus Two" panose="02000506030000020004" pitchFamily="50" charset="0"/>
                <a:ea typeface="Roboto" panose="02000000000000000000" pitchFamily="2" charset="0"/>
              </a:defRPr>
            </a:lvl1pPr>
            <a:lvl2pPr marL="685783" indent="-228594">
              <a:buFont typeface="Arial" panose="020B0604020202020204" pitchFamily="34" charset="0"/>
              <a:buChar char="•"/>
              <a:defRPr sz="1600" b="0">
                <a:solidFill>
                  <a:schemeClr val="tx2"/>
                </a:solidFill>
                <a:latin typeface="Roboto" panose="02000000000000000000" pitchFamily="2" charset="0"/>
                <a:ea typeface="Roboto" panose="02000000000000000000" pitchFamily="2" charset="0"/>
              </a:defRPr>
            </a:lvl2pPr>
          </a:lstStyle>
          <a:p>
            <a:pPr lvl="0"/>
            <a:r>
              <a:rPr lang="nl-BE" noProof="0" dirty="0"/>
              <a:t>Titel hoofdstuk</a:t>
            </a:r>
          </a:p>
        </p:txBody>
      </p:sp>
      <p:sp>
        <p:nvSpPr>
          <p:cNvPr id="38" name="Text Placeholder 27">
            <a:extLst>
              <a:ext uri="{FF2B5EF4-FFF2-40B4-BE49-F238E27FC236}">
                <a16:creationId xmlns:a16="http://schemas.microsoft.com/office/drawing/2014/main" id="{9D1E3960-9524-B44A-9319-6BF6CB4A65D6}"/>
              </a:ext>
            </a:extLst>
          </p:cNvPr>
          <p:cNvSpPr>
            <a:spLocks noGrp="1"/>
          </p:cNvSpPr>
          <p:nvPr>
            <p:ph type="body" sz="quarter" idx="21" hasCustomPrompt="1"/>
          </p:nvPr>
        </p:nvSpPr>
        <p:spPr>
          <a:xfrm>
            <a:off x="9007912" y="4351961"/>
            <a:ext cx="2650376" cy="1353168"/>
          </a:xfrm>
          <a:prstGeom prst="rect">
            <a:avLst/>
          </a:prstGeom>
        </p:spPr>
        <p:txBody>
          <a:bodyPr/>
          <a:lstStyle>
            <a:lvl1pPr marL="228594" indent="-191995">
              <a:lnSpc>
                <a:spcPct val="100000"/>
              </a:lnSpc>
              <a:spcBef>
                <a:spcPts val="800"/>
              </a:spcBef>
              <a:buFont typeface="Arial" panose="020B0604020202020204" pitchFamily="34" charset="0"/>
              <a:buChar char="•"/>
              <a:defRPr sz="1600">
                <a:solidFill>
                  <a:schemeClr val="tx2"/>
                </a:solidFill>
                <a:latin typeface="+mn-lt"/>
                <a:ea typeface="Roboto" panose="02000000000000000000" pitchFamily="2" charset="0"/>
              </a:defRPr>
            </a:lvl1pPr>
          </a:lstStyle>
          <a:p>
            <a:pPr lvl="0"/>
            <a:r>
              <a:rPr lang="nl-BE" noProof="0" dirty="0"/>
              <a:t>Item 01</a:t>
            </a:r>
          </a:p>
          <a:p>
            <a:pPr lvl="0"/>
            <a:r>
              <a:rPr lang="nl-BE" noProof="0" dirty="0"/>
              <a:t>Item 02</a:t>
            </a:r>
          </a:p>
          <a:p>
            <a:pPr lvl="0"/>
            <a:r>
              <a:rPr lang="nl-BE" noProof="0" dirty="0"/>
              <a:t>Item 03</a:t>
            </a:r>
          </a:p>
        </p:txBody>
      </p:sp>
      <p:grpSp>
        <p:nvGrpSpPr>
          <p:cNvPr id="44" name="Graphic 6">
            <a:extLst>
              <a:ext uri="{FF2B5EF4-FFF2-40B4-BE49-F238E27FC236}">
                <a16:creationId xmlns:a16="http://schemas.microsoft.com/office/drawing/2014/main" id="{A7CDBC86-183C-4095-A097-3EBE43147658}"/>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45" name="Freeform: Shape 44">
              <a:extLst>
                <a:ext uri="{FF2B5EF4-FFF2-40B4-BE49-F238E27FC236}">
                  <a16:creationId xmlns:a16="http://schemas.microsoft.com/office/drawing/2014/main" id="{76A7540D-932E-4EA7-893F-2BF796BD356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46" name="Freeform: Shape 45">
              <a:extLst>
                <a:ext uri="{FF2B5EF4-FFF2-40B4-BE49-F238E27FC236}">
                  <a16:creationId xmlns:a16="http://schemas.microsoft.com/office/drawing/2014/main" id="{0AAD2D02-F299-422A-8BCD-6E0E385254D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4" name="Title 10">
            <a:extLst>
              <a:ext uri="{FF2B5EF4-FFF2-40B4-BE49-F238E27FC236}">
                <a16:creationId xmlns:a16="http://schemas.microsoft.com/office/drawing/2014/main" id="{72461F1A-2BDD-402C-94C3-0F8C168B1D90}"/>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Inhoudstafel</a:t>
            </a:r>
            <a:endParaRPr lang="en-GB" noProof="0" dirty="0"/>
          </a:p>
        </p:txBody>
      </p:sp>
    </p:spTree>
    <p:extLst>
      <p:ext uri="{BB962C8B-B14F-4D97-AF65-F5344CB8AC3E}">
        <p14:creationId xmlns:p14="http://schemas.microsoft.com/office/powerpoint/2010/main" val="1969770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ieuw_hoofdstuk">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458C2925-5F5B-4949-ADA1-A30B099D4F5E}"/>
              </a:ext>
            </a:extLst>
          </p:cNvPr>
          <p:cNvSpPr>
            <a:spLocks noGrp="1"/>
          </p:cNvSpPr>
          <p:nvPr>
            <p:ph type="pic" sz="quarter" idx="11"/>
          </p:nvPr>
        </p:nvSpPr>
        <p:spPr>
          <a:xfrm>
            <a:off x="4764085" y="3"/>
            <a:ext cx="7427916" cy="6857997"/>
          </a:xfrm>
          <a:custGeom>
            <a:avLst/>
            <a:gdLst>
              <a:gd name="connsiteX0" fmla="*/ 53458 w 5570937"/>
              <a:gd name="connsiteY0" fmla="*/ 0 h 5143498"/>
              <a:gd name="connsiteX1" fmla="*/ 5570937 w 5570937"/>
              <a:gd name="connsiteY1" fmla="*/ 0 h 5143498"/>
              <a:gd name="connsiteX2" fmla="*/ 5570937 w 5570937"/>
              <a:gd name="connsiteY2" fmla="*/ 5128869 h 5143498"/>
              <a:gd name="connsiteX3" fmla="*/ 1702157 w 5570937"/>
              <a:gd name="connsiteY3" fmla="*/ 5143498 h 5143498"/>
              <a:gd name="connsiteX4" fmla="*/ 1701883 w 5570937"/>
              <a:gd name="connsiteY4" fmla="*/ 5143498 h 5143498"/>
              <a:gd name="connsiteX5" fmla="*/ 1796711 w 5570937"/>
              <a:gd name="connsiteY5" fmla="*/ 5021907 h 5143498"/>
              <a:gd name="connsiteX6" fmla="*/ 3169951 w 5570937"/>
              <a:gd name="connsiteY6" fmla="*/ 2364409 h 5143498"/>
              <a:gd name="connsiteX7" fmla="*/ 2571706 w 5570937"/>
              <a:gd name="connsiteY7" fmla="*/ 1046073 h 5143498"/>
              <a:gd name="connsiteX8" fmla="*/ 347656 w 5570937"/>
              <a:gd name="connsiteY8" fmla="*/ 1214094 h 5143498"/>
              <a:gd name="connsiteX9" fmla="*/ 35654 w 5570937"/>
              <a:gd name="connsiteY9" fmla="*/ 104008 h 514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70937" h="5143498">
                <a:moveTo>
                  <a:pt x="53458" y="0"/>
                </a:moveTo>
                <a:lnTo>
                  <a:pt x="5570937" y="0"/>
                </a:lnTo>
                <a:lnTo>
                  <a:pt x="5570937" y="5128869"/>
                </a:lnTo>
                <a:lnTo>
                  <a:pt x="1702157" y="5143498"/>
                </a:lnTo>
                <a:lnTo>
                  <a:pt x="1701883" y="5143498"/>
                </a:lnTo>
                <a:lnTo>
                  <a:pt x="1796711" y="5021907"/>
                </a:lnTo>
                <a:cubicBezTo>
                  <a:pt x="2292903" y="4411158"/>
                  <a:pt x="3096746" y="3744029"/>
                  <a:pt x="3169951" y="2364409"/>
                </a:cubicBezTo>
                <a:cubicBezTo>
                  <a:pt x="3114973" y="1686381"/>
                  <a:pt x="3038431" y="1236573"/>
                  <a:pt x="2571706" y="1046073"/>
                </a:cubicBezTo>
                <a:cubicBezTo>
                  <a:pt x="1768482" y="680008"/>
                  <a:pt x="898014" y="1573199"/>
                  <a:pt x="347656" y="1214094"/>
                </a:cubicBezTo>
                <a:cubicBezTo>
                  <a:pt x="19601" y="903154"/>
                  <a:pt x="-55002" y="673870"/>
                  <a:pt x="35654" y="104008"/>
                </a:cubicBezTo>
                <a:close/>
              </a:path>
            </a:pathLst>
          </a:custGeom>
          <a:solidFill>
            <a:schemeClr val="bg2"/>
          </a:solidFill>
        </p:spPr>
        <p:txBody>
          <a:bodyPr wrap="square">
            <a:noAutofit/>
          </a:bodyPr>
          <a:lstStyle>
            <a:lvl1pPr marL="0" indent="0">
              <a:buFont typeface="Arial" panose="020B0604020202020204" pitchFamily="34" charset="0"/>
              <a:buNone/>
              <a:defRPr/>
            </a:lvl1pPr>
          </a:lstStyle>
          <a:p>
            <a:r>
              <a:rPr lang="nl-NL" dirty="0"/>
              <a:t>Klik op het pictogram als u een afbeelding wilt toevoegen</a:t>
            </a:r>
            <a:endParaRPr dirty="0"/>
          </a:p>
        </p:txBody>
      </p:sp>
      <p:sp>
        <p:nvSpPr>
          <p:cNvPr id="5" name="Oval 11">
            <a:extLst>
              <a:ext uri="{FF2B5EF4-FFF2-40B4-BE49-F238E27FC236}">
                <a16:creationId xmlns:a16="http://schemas.microsoft.com/office/drawing/2014/main" id="{8C934DE5-79FA-844B-B7C4-C39BFD82DE77}"/>
              </a:ext>
            </a:extLst>
          </p:cNvPr>
          <p:cNvSpPr/>
          <p:nvPr userDrawn="1"/>
        </p:nvSpPr>
        <p:spPr>
          <a:xfrm>
            <a:off x="3468086" y="618030"/>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133" b="1" dirty="0">
              <a:solidFill>
                <a:schemeClr val="bg1"/>
              </a:solidFill>
              <a:latin typeface="Crank 8 Plus Two" panose="02000506030000020004" pitchFamily="50" charset="0"/>
              <a:ea typeface="Roboto" panose="02000000000000000000" pitchFamily="2" charset="0"/>
              <a:cs typeface="Roboto" panose="02000000000000000000" pitchFamily="2" charset="0"/>
            </a:endParaRPr>
          </a:p>
        </p:txBody>
      </p:sp>
      <p:cxnSp>
        <p:nvCxnSpPr>
          <p:cNvPr id="6" name="Straight Connector 5">
            <a:extLst>
              <a:ext uri="{FF2B5EF4-FFF2-40B4-BE49-F238E27FC236}">
                <a16:creationId xmlns:a16="http://schemas.microsoft.com/office/drawing/2014/main" id="{CA7D3838-C136-4946-873D-CFE87EE3D684}"/>
              </a:ext>
            </a:extLst>
          </p:cNvPr>
          <p:cNvCxnSpPr/>
          <p:nvPr userDrawn="1"/>
        </p:nvCxnSpPr>
        <p:spPr>
          <a:xfrm>
            <a:off x="0" y="891393"/>
            <a:ext cx="3468085" cy="0"/>
          </a:xfrm>
          <a:prstGeom prst="line">
            <a:avLst/>
          </a:prstGeom>
          <a:ln w="12700">
            <a:solidFill>
              <a:srgbClr val="ED8B02"/>
            </a:solidFill>
            <a:prstDash val="dash"/>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F44C068C-033C-294E-94D6-87A3305D6AC0}"/>
              </a:ext>
            </a:extLst>
          </p:cNvPr>
          <p:cNvSpPr>
            <a:spLocks noGrp="1"/>
          </p:cNvSpPr>
          <p:nvPr>
            <p:ph type="body" sz="quarter" idx="10" hasCustomPrompt="1"/>
          </p:nvPr>
        </p:nvSpPr>
        <p:spPr>
          <a:xfrm>
            <a:off x="3558748" y="703464"/>
            <a:ext cx="428365" cy="373449"/>
          </a:xfrm>
          <a:prstGeom prst="rect">
            <a:avLst/>
          </a:prstGeom>
        </p:spPr>
        <p:txBody>
          <a:bodyPr/>
          <a:lstStyle>
            <a:lvl1pPr marL="0" indent="0" algn="ctr">
              <a:buNone/>
              <a:defRPr sz="2133" b="1">
                <a:solidFill>
                  <a:srgbClr val="F8F8F8"/>
                </a:solidFill>
                <a:latin typeface="Crank 8 Plus Two" panose="02000506030000020004" pitchFamily="50" charset="0"/>
                <a:ea typeface="Roboto" panose="02000000000000000000" pitchFamily="2" charset="0"/>
              </a:defRPr>
            </a:lvl1pPr>
          </a:lstStyle>
          <a:p>
            <a:pPr lvl="0"/>
            <a:r>
              <a:rPr lang="nl-BE" dirty="0"/>
              <a:t>1</a:t>
            </a:r>
            <a:endParaRPr dirty="0"/>
          </a:p>
        </p:txBody>
      </p:sp>
      <p:sp>
        <p:nvSpPr>
          <p:cNvPr id="10" name="Title 19">
            <a:extLst>
              <a:ext uri="{FF2B5EF4-FFF2-40B4-BE49-F238E27FC236}">
                <a16:creationId xmlns:a16="http://schemas.microsoft.com/office/drawing/2014/main" id="{0EC53E5A-AD40-BD42-8436-7D49B5E4A171}"/>
              </a:ext>
            </a:extLst>
          </p:cNvPr>
          <p:cNvSpPr>
            <a:spLocks noGrp="1"/>
          </p:cNvSpPr>
          <p:nvPr>
            <p:ph type="title" hasCustomPrompt="1"/>
          </p:nvPr>
        </p:nvSpPr>
        <p:spPr>
          <a:xfrm>
            <a:off x="523200" y="2232588"/>
            <a:ext cx="6590867" cy="3006280"/>
          </a:xfrm>
          <a:prstGeom prst="rect">
            <a:avLst/>
          </a:prstGeom>
        </p:spPr>
        <p:txBody>
          <a:bodyPr lIns="90000" rIns="90000"/>
          <a:lstStyle>
            <a:lvl1pPr>
              <a:defRPr sz="3733" b="1">
                <a:solidFill>
                  <a:schemeClr val="tx2"/>
                </a:solidFill>
                <a:latin typeface="Crank 8 Plus Two" panose="02000506030000020004" pitchFamily="50" charset="0"/>
                <a:ea typeface="Roboto" panose="02000000000000000000" pitchFamily="2" charset="0"/>
              </a:defRPr>
            </a:lvl1pPr>
          </a:lstStyle>
          <a:p>
            <a:r>
              <a:rPr lang="nl-BE" noProof="0" dirty="0"/>
              <a:t>Titelstijl</a:t>
            </a:r>
            <a:br>
              <a:rPr lang="nl-BE" noProof="0" dirty="0"/>
            </a:br>
            <a:r>
              <a:rPr lang="nl-BE" noProof="0" dirty="0"/>
              <a:t>nieuw hoofdstuk</a:t>
            </a:r>
          </a:p>
        </p:txBody>
      </p:sp>
      <p:grpSp>
        <p:nvGrpSpPr>
          <p:cNvPr id="18" name="Graphic 6">
            <a:extLst>
              <a:ext uri="{FF2B5EF4-FFF2-40B4-BE49-F238E27FC236}">
                <a16:creationId xmlns:a16="http://schemas.microsoft.com/office/drawing/2014/main" id="{E59B0F87-3AD7-4FBC-A899-63F4C1BE8BD6}"/>
              </a:ext>
            </a:extLst>
          </p:cNvPr>
          <p:cNvGrpSpPr>
            <a:grpSpLocks noChangeAspect="1"/>
          </p:cNvGrpSpPr>
          <p:nvPr userDrawn="1"/>
        </p:nvGrpSpPr>
        <p:grpSpPr>
          <a:xfrm>
            <a:off x="650401" y="5731006"/>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AC623834-93F0-47A8-99F5-4FE48E827E95}"/>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CB360FE5-83F1-4F15-AB18-94BB994D877F}"/>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202227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04CEE57-DF51-D743-AEF9-27071DAD94FD}"/>
              </a:ext>
            </a:extLst>
          </p:cNvPr>
          <p:cNvCxnSpPr/>
          <p:nvPr userDrawn="1"/>
        </p:nvCxnSpPr>
        <p:spPr>
          <a:xfrm>
            <a:off x="4487567" y="2632805"/>
            <a:ext cx="0" cy="2612572"/>
          </a:xfrm>
          <a:prstGeom prst="line">
            <a:avLst/>
          </a:prstGeom>
          <a:ln w="12700">
            <a:solidFill>
              <a:srgbClr val="ED8B02"/>
            </a:solidFill>
            <a:prstDash val="dash"/>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98D801A4-438A-5042-8CED-DB315F7D5BA9}"/>
              </a:ext>
            </a:extLst>
          </p:cNvPr>
          <p:cNvSpPr>
            <a:spLocks noGrp="1"/>
          </p:cNvSpPr>
          <p:nvPr>
            <p:ph type="body" sz="quarter" idx="10" hasCustomPrompt="1"/>
          </p:nvPr>
        </p:nvSpPr>
        <p:spPr>
          <a:xfrm>
            <a:off x="4732866" y="2632806"/>
            <a:ext cx="6935924" cy="2544837"/>
          </a:xfrm>
          <a:prstGeom prst="rect">
            <a:avLst/>
          </a:prstGeom>
        </p:spPr>
        <p:txBody>
          <a:bodyPr/>
          <a:lstStyle>
            <a:lvl1pPr marL="0" indent="0">
              <a:buNone/>
              <a:defRPr sz="1867">
                <a:solidFill>
                  <a:schemeClr val="tx2"/>
                </a:solidFill>
                <a:latin typeface="+mn-lt"/>
                <a:ea typeface="Roboto" panose="02000000000000000000" pitchFamily="2"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add text</a:t>
            </a:r>
          </a:p>
        </p:txBody>
      </p:sp>
      <p:sp>
        <p:nvSpPr>
          <p:cNvPr id="13" name="Text Placeholder 12">
            <a:extLst>
              <a:ext uri="{FF2B5EF4-FFF2-40B4-BE49-F238E27FC236}">
                <a16:creationId xmlns:a16="http://schemas.microsoft.com/office/drawing/2014/main" id="{4EBE385C-CB59-9C4A-8181-0FFE6A77522B}"/>
              </a:ext>
            </a:extLst>
          </p:cNvPr>
          <p:cNvSpPr>
            <a:spLocks noGrp="1"/>
          </p:cNvSpPr>
          <p:nvPr>
            <p:ph type="body" sz="quarter" idx="11" hasCustomPrompt="1"/>
          </p:nvPr>
        </p:nvSpPr>
        <p:spPr>
          <a:xfrm>
            <a:off x="522248" y="2632805"/>
            <a:ext cx="3704163" cy="2544839"/>
          </a:xfrm>
          <a:prstGeom prst="rect">
            <a:avLst/>
          </a:prstGeom>
        </p:spPr>
        <p:txBody>
          <a:bodyPr/>
          <a:lstStyle>
            <a:lvl1pPr marL="0" indent="0" algn="r">
              <a:buNone/>
              <a:defRPr sz="3733" b="1">
                <a:solidFill>
                  <a:srgbClr val="ED8B02"/>
                </a:solidFill>
                <a:latin typeface="Crank 8 Plus Two" panose="02000506030000020004" pitchFamily="50" charset="0"/>
                <a:ea typeface="Roboto" panose="02000000000000000000" pitchFamily="2" charset="0"/>
              </a:defRPr>
            </a:lvl1pPr>
            <a:lvl2pPr marL="457189" indent="0" algn="r">
              <a:buNone/>
              <a:defRPr sz="3733" b="1">
                <a:solidFill>
                  <a:srgbClr val="ED8B02"/>
                </a:solidFill>
                <a:latin typeface="Crank 8 Plus Two" panose="02000506030000020004" pitchFamily="50" charset="0"/>
                <a:ea typeface="Roboto" panose="02000000000000000000" pitchFamily="2" charset="0"/>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a:p>
            <a:pPr lvl="1"/>
            <a:endParaRPr dirty="0"/>
          </a:p>
        </p:txBody>
      </p:sp>
      <p:grpSp>
        <p:nvGrpSpPr>
          <p:cNvPr id="18" name="Graphic 6">
            <a:extLst>
              <a:ext uri="{FF2B5EF4-FFF2-40B4-BE49-F238E27FC236}">
                <a16:creationId xmlns:a16="http://schemas.microsoft.com/office/drawing/2014/main" id="{CF83D0F6-91A1-443F-93BF-458E2A1BD73D}"/>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B76A0895-6845-4F32-83E4-D23A951555CC}"/>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0D4CFB12-BF20-45D0-B5E1-EF47D432CADC}"/>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9" name="Title 10">
            <a:extLst>
              <a:ext uri="{FF2B5EF4-FFF2-40B4-BE49-F238E27FC236}">
                <a16:creationId xmlns:a16="http://schemas.microsoft.com/office/drawing/2014/main" id="{912734A0-3BED-42E2-BB7C-A218B0530033}"/>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Intro</a:t>
            </a:r>
          </a:p>
        </p:txBody>
      </p:sp>
    </p:spTree>
    <p:extLst>
      <p:ext uri="{BB962C8B-B14F-4D97-AF65-F5344CB8AC3E}">
        <p14:creationId xmlns:p14="http://schemas.microsoft.com/office/powerpoint/2010/main" val="3313586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rvice slide">
    <p:spTree>
      <p:nvGrpSpPr>
        <p:cNvPr id="1" name=""/>
        <p:cNvGrpSpPr/>
        <p:nvPr/>
      </p:nvGrpSpPr>
      <p:grpSpPr>
        <a:xfrm>
          <a:off x="0" y="0"/>
          <a:ext cx="0" cy="0"/>
          <a:chOff x="0" y="0"/>
          <a:chExt cx="0" cy="0"/>
        </a:xfrm>
      </p:grpSpPr>
      <p:sp>
        <p:nvSpPr>
          <p:cNvPr id="18" name="Oval 11">
            <a:extLst>
              <a:ext uri="{FF2B5EF4-FFF2-40B4-BE49-F238E27FC236}">
                <a16:creationId xmlns:a16="http://schemas.microsoft.com/office/drawing/2014/main" id="{ACD37CF8-F9A8-6040-99EC-F6EAFFC5C6BF}"/>
              </a:ext>
            </a:extLst>
          </p:cNvPr>
          <p:cNvSpPr/>
          <p:nvPr userDrawn="1"/>
        </p:nvSpPr>
        <p:spPr>
          <a:xfrm>
            <a:off x="1058711" y="2779066"/>
            <a:ext cx="903924" cy="846271"/>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sz="2133" b="1" dirty="0">
              <a:solidFill>
                <a:schemeClr val="bg1"/>
              </a:solidFill>
              <a:latin typeface="Roboto" charset="0"/>
              <a:ea typeface="Roboto" charset="0"/>
              <a:cs typeface="Roboto" charset="0"/>
            </a:endParaRPr>
          </a:p>
        </p:txBody>
      </p:sp>
      <p:sp>
        <p:nvSpPr>
          <p:cNvPr id="20" name="Oval 11">
            <a:extLst>
              <a:ext uri="{FF2B5EF4-FFF2-40B4-BE49-F238E27FC236}">
                <a16:creationId xmlns:a16="http://schemas.microsoft.com/office/drawing/2014/main" id="{CFAF3E6D-7A81-2F42-AD2E-D7D3331CCD3E}"/>
              </a:ext>
            </a:extLst>
          </p:cNvPr>
          <p:cNvSpPr/>
          <p:nvPr userDrawn="1"/>
        </p:nvSpPr>
        <p:spPr>
          <a:xfrm>
            <a:off x="3351375" y="2084852"/>
            <a:ext cx="903924" cy="906889"/>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sz="2133" b="1" dirty="0">
              <a:solidFill>
                <a:schemeClr val="bg1"/>
              </a:solidFill>
              <a:latin typeface="Roboto" charset="0"/>
              <a:ea typeface="Roboto" charset="0"/>
              <a:cs typeface="Roboto" charset="0"/>
            </a:endParaRPr>
          </a:p>
        </p:txBody>
      </p:sp>
      <p:sp>
        <p:nvSpPr>
          <p:cNvPr id="23" name="Oval 11">
            <a:extLst>
              <a:ext uri="{FF2B5EF4-FFF2-40B4-BE49-F238E27FC236}">
                <a16:creationId xmlns:a16="http://schemas.microsoft.com/office/drawing/2014/main" id="{61678283-0367-6247-A040-4ED7F376912F}"/>
              </a:ext>
            </a:extLst>
          </p:cNvPr>
          <p:cNvSpPr/>
          <p:nvPr/>
        </p:nvSpPr>
        <p:spPr>
          <a:xfrm>
            <a:off x="5629445" y="1912030"/>
            <a:ext cx="933113" cy="873044"/>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sz="2133" b="1" dirty="0">
              <a:solidFill>
                <a:schemeClr val="bg1"/>
              </a:solidFill>
              <a:latin typeface="Roboto" charset="0"/>
              <a:ea typeface="Roboto" charset="0"/>
              <a:cs typeface="Roboto" charset="0"/>
            </a:endParaRPr>
          </a:p>
        </p:txBody>
      </p:sp>
      <p:sp>
        <p:nvSpPr>
          <p:cNvPr id="25" name="Oval 11">
            <a:extLst>
              <a:ext uri="{FF2B5EF4-FFF2-40B4-BE49-F238E27FC236}">
                <a16:creationId xmlns:a16="http://schemas.microsoft.com/office/drawing/2014/main" id="{96188F80-2133-934E-A515-BF0BDACFA0F3}"/>
              </a:ext>
            </a:extLst>
          </p:cNvPr>
          <p:cNvSpPr/>
          <p:nvPr userDrawn="1"/>
        </p:nvSpPr>
        <p:spPr>
          <a:xfrm>
            <a:off x="7936703" y="2105422"/>
            <a:ext cx="903924" cy="8851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sz="2133" b="1" dirty="0">
              <a:solidFill>
                <a:schemeClr val="bg1"/>
              </a:solidFill>
              <a:latin typeface="Roboto" charset="0"/>
              <a:ea typeface="Roboto" charset="0"/>
              <a:cs typeface="Roboto" charset="0"/>
            </a:endParaRPr>
          </a:p>
        </p:txBody>
      </p:sp>
      <p:sp>
        <p:nvSpPr>
          <p:cNvPr id="28" name="Oval 11">
            <a:extLst>
              <a:ext uri="{FF2B5EF4-FFF2-40B4-BE49-F238E27FC236}">
                <a16:creationId xmlns:a16="http://schemas.microsoft.com/office/drawing/2014/main" id="{B8FF829F-0C55-5945-ABCA-15E610891E64}"/>
              </a:ext>
            </a:extLst>
          </p:cNvPr>
          <p:cNvSpPr/>
          <p:nvPr/>
        </p:nvSpPr>
        <p:spPr>
          <a:xfrm>
            <a:off x="10229366" y="2720027"/>
            <a:ext cx="903924" cy="879539"/>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sz="2133" b="1" dirty="0">
              <a:solidFill>
                <a:schemeClr val="bg1"/>
              </a:solidFill>
              <a:latin typeface="Roboto" charset="0"/>
              <a:ea typeface="Roboto" charset="0"/>
              <a:cs typeface="Roboto" charset="0"/>
            </a:endParaRPr>
          </a:p>
        </p:txBody>
      </p:sp>
      <p:sp>
        <p:nvSpPr>
          <p:cNvPr id="48" name="Text Placeholder 47">
            <a:extLst>
              <a:ext uri="{FF2B5EF4-FFF2-40B4-BE49-F238E27FC236}">
                <a16:creationId xmlns:a16="http://schemas.microsoft.com/office/drawing/2014/main" id="{A8DD0C5F-954E-9848-9876-F704686C0985}"/>
              </a:ext>
            </a:extLst>
          </p:cNvPr>
          <p:cNvSpPr>
            <a:spLocks noGrp="1"/>
          </p:cNvSpPr>
          <p:nvPr>
            <p:ph type="body" sz="quarter" idx="15" hasCustomPrompt="1"/>
          </p:nvPr>
        </p:nvSpPr>
        <p:spPr>
          <a:xfrm>
            <a:off x="523201" y="3788577"/>
            <a:ext cx="1974945" cy="317768"/>
          </a:xfrm>
          <a:prstGeom prst="rect">
            <a:avLst/>
          </a:prstGeom>
        </p:spPr>
        <p:txBody>
          <a:bodyPr/>
          <a:lstStyle>
            <a:lvl1pPr marL="0" indent="0" algn="l">
              <a:buNone/>
              <a:defRPr sz="1867" b="1">
                <a:solidFill>
                  <a:schemeClr val="tx2"/>
                </a:solidFill>
                <a:latin typeface="Crank 8 Plus Two" panose="02000506030000020004" pitchFamily="50" charset="0"/>
                <a:ea typeface="Roboto" panose="02000000000000000000" pitchFamily="2" charset="0"/>
              </a:defRPr>
            </a:lvl1pPr>
          </a:lstStyle>
          <a:p>
            <a:pPr lvl="0"/>
            <a:r>
              <a:rPr lang="nl-BE" dirty="0"/>
              <a:t>Service 01</a:t>
            </a:r>
            <a:endParaRPr dirty="0"/>
          </a:p>
        </p:txBody>
      </p:sp>
      <p:sp>
        <p:nvSpPr>
          <p:cNvPr id="49" name="Text Placeholder 47">
            <a:extLst>
              <a:ext uri="{FF2B5EF4-FFF2-40B4-BE49-F238E27FC236}">
                <a16:creationId xmlns:a16="http://schemas.microsoft.com/office/drawing/2014/main" id="{6A371372-403D-C64B-8240-C8D0004EA9F3}"/>
              </a:ext>
            </a:extLst>
          </p:cNvPr>
          <p:cNvSpPr>
            <a:spLocks noGrp="1"/>
          </p:cNvSpPr>
          <p:nvPr>
            <p:ph type="body" sz="quarter" idx="16" hasCustomPrompt="1"/>
          </p:nvPr>
        </p:nvSpPr>
        <p:spPr>
          <a:xfrm>
            <a:off x="523201" y="4122884"/>
            <a:ext cx="1974945" cy="1296000"/>
          </a:xfrm>
          <a:prstGeom prst="rect">
            <a:avLst/>
          </a:prstGeom>
        </p:spPr>
        <p:txBody>
          <a:bodyPr/>
          <a:lstStyle>
            <a:lvl1pPr marL="0" indent="0" algn="l">
              <a:buNone/>
              <a:defRPr sz="1600" b="0">
                <a:solidFill>
                  <a:schemeClr val="tx2"/>
                </a:solidFill>
                <a:latin typeface="+mn-lt"/>
                <a:ea typeface="Roboto" panose="02000000000000000000" pitchFamily="2" charset="0"/>
              </a:defRPr>
            </a:lvl1pPr>
          </a:lstStyle>
          <a:p>
            <a:pPr lvl="0"/>
            <a:r>
              <a:rPr lang="nl-BE" dirty="0"/>
              <a:t>Click to add text</a:t>
            </a:r>
            <a:endParaRPr dirty="0"/>
          </a:p>
        </p:txBody>
      </p:sp>
      <p:sp>
        <p:nvSpPr>
          <p:cNvPr id="50" name="Text Placeholder 47">
            <a:extLst>
              <a:ext uri="{FF2B5EF4-FFF2-40B4-BE49-F238E27FC236}">
                <a16:creationId xmlns:a16="http://schemas.microsoft.com/office/drawing/2014/main" id="{1A24C3F7-8A4D-F743-90A4-9D8AFDADD472}"/>
              </a:ext>
            </a:extLst>
          </p:cNvPr>
          <p:cNvSpPr>
            <a:spLocks noGrp="1"/>
          </p:cNvSpPr>
          <p:nvPr>
            <p:ph type="body" sz="quarter" idx="17" hasCustomPrompt="1"/>
          </p:nvPr>
        </p:nvSpPr>
        <p:spPr>
          <a:xfrm>
            <a:off x="2815865" y="3179217"/>
            <a:ext cx="1974945" cy="317768"/>
          </a:xfrm>
          <a:prstGeom prst="rect">
            <a:avLst/>
          </a:prstGeom>
        </p:spPr>
        <p:txBody>
          <a:bodyPr/>
          <a:lstStyle>
            <a:lvl1pPr marL="0" indent="0" algn="l">
              <a:buNone/>
              <a:defRPr sz="1867" b="1">
                <a:solidFill>
                  <a:schemeClr val="tx2"/>
                </a:solidFill>
                <a:latin typeface="Crank 8 Plus Two" panose="02000506030000020004" pitchFamily="50" charset="0"/>
                <a:ea typeface="Roboto" panose="02000000000000000000" pitchFamily="2" charset="0"/>
              </a:defRPr>
            </a:lvl1pPr>
          </a:lstStyle>
          <a:p>
            <a:pPr lvl="0"/>
            <a:r>
              <a:rPr lang="nl-BE" dirty="0"/>
              <a:t>Service 02</a:t>
            </a:r>
            <a:endParaRPr dirty="0"/>
          </a:p>
        </p:txBody>
      </p:sp>
      <p:sp>
        <p:nvSpPr>
          <p:cNvPr id="51" name="Text Placeholder 47">
            <a:extLst>
              <a:ext uri="{FF2B5EF4-FFF2-40B4-BE49-F238E27FC236}">
                <a16:creationId xmlns:a16="http://schemas.microsoft.com/office/drawing/2014/main" id="{5899A453-7383-604F-9763-2999E87520E4}"/>
              </a:ext>
            </a:extLst>
          </p:cNvPr>
          <p:cNvSpPr>
            <a:spLocks noGrp="1"/>
          </p:cNvSpPr>
          <p:nvPr>
            <p:ph type="body" sz="quarter" idx="18" hasCustomPrompt="1"/>
          </p:nvPr>
        </p:nvSpPr>
        <p:spPr>
          <a:xfrm>
            <a:off x="2815865" y="3513209"/>
            <a:ext cx="1974945" cy="1296000"/>
          </a:xfrm>
          <a:prstGeom prst="rect">
            <a:avLst/>
          </a:prstGeom>
        </p:spPr>
        <p:txBody>
          <a:bodyPr/>
          <a:lstStyle>
            <a:lvl1pPr marL="0" indent="0" algn="l">
              <a:buNone/>
              <a:defRPr sz="1600" b="0">
                <a:solidFill>
                  <a:schemeClr val="tx2"/>
                </a:solidFill>
                <a:latin typeface="+mn-lt"/>
                <a:ea typeface="Roboto" panose="02000000000000000000" pitchFamily="2" charset="0"/>
              </a:defRPr>
            </a:lvl1pPr>
          </a:lstStyle>
          <a:p>
            <a:pPr lvl="0"/>
            <a:r>
              <a:rPr lang="nl-BE" dirty="0"/>
              <a:t>Click to add text</a:t>
            </a:r>
            <a:endParaRPr dirty="0"/>
          </a:p>
        </p:txBody>
      </p:sp>
      <p:sp>
        <p:nvSpPr>
          <p:cNvPr id="52" name="Text Placeholder 47">
            <a:extLst>
              <a:ext uri="{FF2B5EF4-FFF2-40B4-BE49-F238E27FC236}">
                <a16:creationId xmlns:a16="http://schemas.microsoft.com/office/drawing/2014/main" id="{FB462769-50B5-7F47-A809-9E69421BAB8C}"/>
              </a:ext>
            </a:extLst>
          </p:cNvPr>
          <p:cNvSpPr>
            <a:spLocks noGrp="1"/>
          </p:cNvSpPr>
          <p:nvPr>
            <p:ph type="body" sz="quarter" idx="19" hasCustomPrompt="1"/>
          </p:nvPr>
        </p:nvSpPr>
        <p:spPr>
          <a:xfrm>
            <a:off x="5108529" y="2967863"/>
            <a:ext cx="1974945" cy="317768"/>
          </a:xfrm>
          <a:prstGeom prst="rect">
            <a:avLst/>
          </a:prstGeom>
        </p:spPr>
        <p:txBody>
          <a:bodyPr/>
          <a:lstStyle>
            <a:lvl1pPr marL="0" indent="0" algn="l">
              <a:buNone/>
              <a:defRPr sz="1867" b="1">
                <a:solidFill>
                  <a:schemeClr val="tx2"/>
                </a:solidFill>
                <a:latin typeface="Crank 8 Plus Two" panose="02000506030000020004" pitchFamily="50" charset="0"/>
                <a:ea typeface="Roboto" panose="02000000000000000000" pitchFamily="2" charset="0"/>
              </a:defRPr>
            </a:lvl1pPr>
          </a:lstStyle>
          <a:p>
            <a:pPr lvl="0"/>
            <a:r>
              <a:rPr lang="nl-BE" dirty="0"/>
              <a:t>Service 03</a:t>
            </a:r>
            <a:endParaRPr dirty="0"/>
          </a:p>
        </p:txBody>
      </p:sp>
      <p:sp>
        <p:nvSpPr>
          <p:cNvPr id="53" name="Text Placeholder 47">
            <a:extLst>
              <a:ext uri="{FF2B5EF4-FFF2-40B4-BE49-F238E27FC236}">
                <a16:creationId xmlns:a16="http://schemas.microsoft.com/office/drawing/2014/main" id="{F6753908-34A4-2F45-9C36-5A539233E3A2}"/>
              </a:ext>
            </a:extLst>
          </p:cNvPr>
          <p:cNvSpPr>
            <a:spLocks noGrp="1"/>
          </p:cNvSpPr>
          <p:nvPr>
            <p:ph type="body" sz="quarter" idx="20" hasCustomPrompt="1"/>
          </p:nvPr>
        </p:nvSpPr>
        <p:spPr>
          <a:xfrm>
            <a:off x="5108529" y="3301855"/>
            <a:ext cx="1974945" cy="1296000"/>
          </a:xfrm>
          <a:prstGeom prst="rect">
            <a:avLst/>
          </a:prstGeom>
        </p:spPr>
        <p:txBody>
          <a:bodyPr/>
          <a:lstStyle>
            <a:lvl1pPr marL="0" indent="0" algn="l">
              <a:buNone/>
              <a:defRPr sz="1600" b="0">
                <a:solidFill>
                  <a:schemeClr val="tx2"/>
                </a:solidFill>
                <a:latin typeface="+mn-lt"/>
                <a:ea typeface="Roboto" panose="02000000000000000000" pitchFamily="2" charset="0"/>
              </a:defRPr>
            </a:lvl1pPr>
          </a:lstStyle>
          <a:p>
            <a:pPr lvl="0"/>
            <a:r>
              <a:rPr lang="nl-BE" dirty="0"/>
              <a:t>Click to add text</a:t>
            </a:r>
            <a:endParaRPr dirty="0"/>
          </a:p>
        </p:txBody>
      </p:sp>
      <p:sp>
        <p:nvSpPr>
          <p:cNvPr id="54" name="Text Placeholder 47">
            <a:extLst>
              <a:ext uri="{FF2B5EF4-FFF2-40B4-BE49-F238E27FC236}">
                <a16:creationId xmlns:a16="http://schemas.microsoft.com/office/drawing/2014/main" id="{F417F658-D4D2-0C43-9779-C2B90793FE66}"/>
              </a:ext>
            </a:extLst>
          </p:cNvPr>
          <p:cNvSpPr>
            <a:spLocks noGrp="1"/>
          </p:cNvSpPr>
          <p:nvPr>
            <p:ph type="body" sz="quarter" idx="21" hasCustomPrompt="1"/>
          </p:nvPr>
        </p:nvSpPr>
        <p:spPr>
          <a:xfrm>
            <a:off x="7401193" y="3179217"/>
            <a:ext cx="1974945" cy="317768"/>
          </a:xfrm>
          <a:prstGeom prst="rect">
            <a:avLst/>
          </a:prstGeom>
        </p:spPr>
        <p:txBody>
          <a:bodyPr/>
          <a:lstStyle>
            <a:lvl1pPr marL="0" indent="0" algn="l">
              <a:buNone/>
              <a:defRPr sz="1867" b="1">
                <a:solidFill>
                  <a:schemeClr val="tx2"/>
                </a:solidFill>
                <a:latin typeface="Crank 8 Plus Two" panose="02000506030000020004" pitchFamily="50" charset="0"/>
                <a:ea typeface="Roboto" panose="02000000000000000000" pitchFamily="2" charset="0"/>
              </a:defRPr>
            </a:lvl1pPr>
          </a:lstStyle>
          <a:p>
            <a:pPr lvl="0"/>
            <a:r>
              <a:rPr lang="nl-BE" dirty="0"/>
              <a:t>Service 04</a:t>
            </a:r>
            <a:endParaRPr dirty="0"/>
          </a:p>
        </p:txBody>
      </p:sp>
      <p:sp>
        <p:nvSpPr>
          <p:cNvPr id="55" name="Text Placeholder 47">
            <a:extLst>
              <a:ext uri="{FF2B5EF4-FFF2-40B4-BE49-F238E27FC236}">
                <a16:creationId xmlns:a16="http://schemas.microsoft.com/office/drawing/2014/main" id="{3C37B6AA-6083-C344-979D-DCEA02BC50B8}"/>
              </a:ext>
            </a:extLst>
          </p:cNvPr>
          <p:cNvSpPr>
            <a:spLocks noGrp="1"/>
          </p:cNvSpPr>
          <p:nvPr>
            <p:ph type="body" sz="quarter" idx="22" hasCustomPrompt="1"/>
          </p:nvPr>
        </p:nvSpPr>
        <p:spPr>
          <a:xfrm>
            <a:off x="7401193" y="3513209"/>
            <a:ext cx="1974945" cy="1296000"/>
          </a:xfrm>
          <a:prstGeom prst="rect">
            <a:avLst/>
          </a:prstGeom>
        </p:spPr>
        <p:txBody>
          <a:bodyPr/>
          <a:lstStyle>
            <a:lvl1pPr marL="0" indent="0" algn="l">
              <a:buNone/>
              <a:defRPr sz="1600" b="0">
                <a:solidFill>
                  <a:schemeClr val="tx2"/>
                </a:solidFill>
                <a:latin typeface="+mn-lt"/>
                <a:ea typeface="Roboto" panose="02000000000000000000" pitchFamily="2" charset="0"/>
              </a:defRPr>
            </a:lvl1pPr>
          </a:lstStyle>
          <a:p>
            <a:pPr lvl="0"/>
            <a:r>
              <a:rPr lang="nl-BE" dirty="0"/>
              <a:t>Click to add text</a:t>
            </a:r>
            <a:endParaRPr dirty="0"/>
          </a:p>
        </p:txBody>
      </p:sp>
      <p:sp>
        <p:nvSpPr>
          <p:cNvPr id="56" name="Text Placeholder 47">
            <a:extLst>
              <a:ext uri="{FF2B5EF4-FFF2-40B4-BE49-F238E27FC236}">
                <a16:creationId xmlns:a16="http://schemas.microsoft.com/office/drawing/2014/main" id="{7BF9CF2E-E679-AD4A-964B-3CD999924C84}"/>
              </a:ext>
            </a:extLst>
          </p:cNvPr>
          <p:cNvSpPr>
            <a:spLocks noGrp="1"/>
          </p:cNvSpPr>
          <p:nvPr>
            <p:ph type="body" sz="quarter" idx="23" hasCustomPrompt="1"/>
          </p:nvPr>
        </p:nvSpPr>
        <p:spPr>
          <a:xfrm>
            <a:off x="9693856" y="3788577"/>
            <a:ext cx="1974945" cy="317768"/>
          </a:xfrm>
          <a:prstGeom prst="rect">
            <a:avLst/>
          </a:prstGeom>
        </p:spPr>
        <p:txBody>
          <a:bodyPr/>
          <a:lstStyle>
            <a:lvl1pPr marL="0" indent="0" algn="l">
              <a:buNone/>
              <a:defRPr sz="1867" b="1">
                <a:solidFill>
                  <a:schemeClr val="tx2"/>
                </a:solidFill>
                <a:latin typeface="Crank 8 Plus Two" panose="02000506030000020004" pitchFamily="50" charset="0"/>
                <a:ea typeface="Roboto" panose="02000000000000000000" pitchFamily="2" charset="0"/>
              </a:defRPr>
            </a:lvl1pPr>
          </a:lstStyle>
          <a:p>
            <a:pPr lvl="0"/>
            <a:r>
              <a:rPr lang="nl-BE" dirty="0"/>
              <a:t>Service 05</a:t>
            </a:r>
            <a:endParaRPr dirty="0"/>
          </a:p>
        </p:txBody>
      </p:sp>
      <p:sp>
        <p:nvSpPr>
          <p:cNvPr id="57" name="Text Placeholder 47">
            <a:extLst>
              <a:ext uri="{FF2B5EF4-FFF2-40B4-BE49-F238E27FC236}">
                <a16:creationId xmlns:a16="http://schemas.microsoft.com/office/drawing/2014/main" id="{E1097CC7-8827-174F-98E1-6A1FA0AFBEAE}"/>
              </a:ext>
            </a:extLst>
          </p:cNvPr>
          <p:cNvSpPr>
            <a:spLocks noGrp="1"/>
          </p:cNvSpPr>
          <p:nvPr>
            <p:ph type="body" sz="quarter" idx="24" hasCustomPrompt="1"/>
          </p:nvPr>
        </p:nvSpPr>
        <p:spPr>
          <a:xfrm>
            <a:off x="9693856" y="4122884"/>
            <a:ext cx="1974945" cy="1296000"/>
          </a:xfrm>
          <a:prstGeom prst="rect">
            <a:avLst/>
          </a:prstGeom>
        </p:spPr>
        <p:txBody>
          <a:bodyPr/>
          <a:lstStyle>
            <a:lvl1pPr marL="0" indent="0" algn="l">
              <a:buNone/>
              <a:defRPr sz="1600" b="0">
                <a:solidFill>
                  <a:schemeClr val="tx2"/>
                </a:solidFill>
                <a:latin typeface="+mn-lt"/>
                <a:ea typeface="Roboto" panose="02000000000000000000" pitchFamily="2" charset="0"/>
              </a:defRPr>
            </a:lvl1pPr>
          </a:lstStyle>
          <a:p>
            <a:pPr lvl="0"/>
            <a:r>
              <a:rPr lang="nl-BE" dirty="0"/>
              <a:t>Click to add text</a:t>
            </a:r>
            <a:endParaRPr dirty="0"/>
          </a:p>
        </p:txBody>
      </p:sp>
      <p:grpSp>
        <p:nvGrpSpPr>
          <p:cNvPr id="21" name="Graphic 6">
            <a:extLst>
              <a:ext uri="{FF2B5EF4-FFF2-40B4-BE49-F238E27FC236}">
                <a16:creationId xmlns:a16="http://schemas.microsoft.com/office/drawing/2014/main" id="{F1750234-7FD2-4A92-874E-41D437A15C85}"/>
              </a:ext>
            </a:extLst>
          </p:cNvPr>
          <p:cNvGrpSpPr>
            <a:grpSpLocks noChangeAspect="1"/>
          </p:cNvGrpSpPr>
          <p:nvPr userDrawn="1"/>
        </p:nvGrpSpPr>
        <p:grpSpPr>
          <a:xfrm>
            <a:off x="9936405" y="5730671"/>
            <a:ext cx="1604699" cy="476157"/>
            <a:chOff x="1454943" y="1645443"/>
            <a:chExt cx="6227445" cy="1847850"/>
          </a:xfrm>
          <a:solidFill>
            <a:schemeClr val="accent1"/>
          </a:solidFill>
        </p:grpSpPr>
        <p:sp>
          <p:nvSpPr>
            <p:cNvPr id="22" name="Freeform: Shape 21">
              <a:extLst>
                <a:ext uri="{FF2B5EF4-FFF2-40B4-BE49-F238E27FC236}">
                  <a16:creationId xmlns:a16="http://schemas.microsoft.com/office/drawing/2014/main" id="{285CDEBE-A732-40F3-9A7D-CF431D3F2DA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nl-BE" sz="2400"/>
            </a:p>
          </p:txBody>
        </p:sp>
        <p:sp>
          <p:nvSpPr>
            <p:cNvPr id="24" name="Freeform: Shape 23">
              <a:extLst>
                <a:ext uri="{FF2B5EF4-FFF2-40B4-BE49-F238E27FC236}">
                  <a16:creationId xmlns:a16="http://schemas.microsoft.com/office/drawing/2014/main" id="{8B03F6AE-0711-442F-BE8D-519F8FFC3FDB}"/>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nl-BE" sz="2400"/>
            </a:p>
          </p:txBody>
        </p:sp>
      </p:grpSp>
      <p:sp>
        <p:nvSpPr>
          <p:cNvPr id="26" name="Title 10">
            <a:extLst>
              <a:ext uri="{FF2B5EF4-FFF2-40B4-BE49-F238E27FC236}">
                <a16:creationId xmlns:a16="http://schemas.microsoft.com/office/drawing/2014/main" id="{F7D7DBBE-9B42-40E4-AF31-866E8F1D989D}"/>
              </a:ext>
            </a:extLst>
          </p:cNvPr>
          <p:cNvSpPr>
            <a:spLocks noGrp="1"/>
          </p:cNvSpPr>
          <p:nvPr>
            <p:ph type="title" hasCustomPrompt="1"/>
          </p:nvPr>
        </p:nvSpPr>
        <p:spPr>
          <a:xfrm>
            <a:off x="524111" y="534243"/>
            <a:ext cx="9169743"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Service slide</a:t>
            </a:r>
          </a:p>
        </p:txBody>
      </p:sp>
    </p:spTree>
    <p:extLst>
      <p:ext uri="{BB962C8B-B14F-4D97-AF65-F5344CB8AC3E}">
        <p14:creationId xmlns:p14="http://schemas.microsoft.com/office/powerpoint/2010/main" val="24857289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558A02-2C96-E544-94FB-E1473357D8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037983" cy="6858000"/>
          </a:xfrm>
          <a:prstGeom prst="rect">
            <a:avLst/>
          </a:prstGeom>
        </p:spPr>
      </p:pic>
      <p:pic>
        <p:nvPicPr>
          <p:cNvPr id="4" name="Picture 3">
            <a:extLst>
              <a:ext uri="{FF2B5EF4-FFF2-40B4-BE49-F238E27FC236}">
                <a16:creationId xmlns:a16="http://schemas.microsoft.com/office/drawing/2014/main" id="{D1ACF7F6-69A7-ED4E-8EE2-7EBD67B1A0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sp>
        <p:nvSpPr>
          <p:cNvPr id="5" name="Title 2">
            <a:extLst>
              <a:ext uri="{FF2B5EF4-FFF2-40B4-BE49-F238E27FC236}">
                <a16:creationId xmlns:a16="http://schemas.microsoft.com/office/drawing/2014/main" id="{844D6B62-6137-104D-8CCD-492A725C6FF1}"/>
              </a:ext>
            </a:extLst>
          </p:cNvPr>
          <p:cNvSpPr>
            <a:spLocks noGrp="1"/>
          </p:cNvSpPr>
          <p:nvPr>
            <p:ph type="title" hasCustomPrompt="1"/>
          </p:nvPr>
        </p:nvSpPr>
        <p:spPr>
          <a:xfrm>
            <a:off x="7152304" y="3990192"/>
            <a:ext cx="4516499" cy="2216625"/>
          </a:xfrm>
          <a:prstGeom prst="rect">
            <a:avLst/>
          </a:prstGeom>
        </p:spPr>
        <p:txBody>
          <a:bodyPr/>
          <a:lstStyle>
            <a:lvl1pPr algn="l">
              <a:defRPr sz="3733">
                <a:solidFill>
                  <a:schemeClr val="bg1"/>
                </a:solidFill>
                <a:latin typeface="Crank 8 Plus Two" panose="02000506030000020004" pitchFamily="50" charset="0"/>
              </a:defRPr>
            </a:lvl1pPr>
          </a:lstStyle>
          <a:p>
            <a:r>
              <a:rPr lang="en-US" dirty="0"/>
              <a:t>Click to edit master text styles</a:t>
            </a:r>
            <a:br>
              <a:rPr lang="en-US" dirty="0"/>
            </a:br>
            <a:endParaRPr dirty="0"/>
          </a:p>
        </p:txBody>
      </p:sp>
      <p:grpSp>
        <p:nvGrpSpPr>
          <p:cNvPr id="15" name="Graphic 6">
            <a:extLst>
              <a:ext uri="{FF2B5EF4-FFF2-40B4-BE49-F238E27FC236}">
                <a16:creationId xmlns:a16="http://schemas.microsoft.com/office/drawing/2014/main" id="{CAE463D1-0F58-477B-9A04-1D87E3D0FCAC}"/>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6" name="Freeform: Shape 15">
              <a:extLst>
                <a:ext uri="{FF2B5EF4-FFF2-40B4-BE49-F238E27FC236}">
                  <a16:creationId xmlns:a16="http://schemas.microsoft.com/office/drawing/2014/main" id="{14076187-886D-440B-B6BD-7368FF666F7E}"/>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7ECFAC5A-E15D-4042-93EA-D1B354100FB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564524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pagina">
    <p:spTree>
      <p:nvGrpSpPr>
        <p:cNvPr id="1" name=""/>
        <p:cNvGrpSpPr/>
        <p:nvPr/>
      </p:nvGrpSpPr>
      <p:grpSpPr>
        <a:xfrm>
          <a:off x="0" y="0"/>
          <a:ext cx="0" cy="0"/>
          <a:chOff x="0" y="0"/>
          <a:chExt cx="0" cy="0"/>
        </a:xfrm>
      </p:grpSpPr>
      <p:sp>
        <p:nvSpPr>
          <p:cNvPr id="4" name="Tijdelijke aanduiding voor tekst 8">
            <a:extLst>
              <a:ext uri="{FF2B5EF4-FFF2-40B4-BE49-F238E27FC236}">
                <a16:creationId xmlns:a16="http://schemas.microsoft.com/office/drawing/2014/main" id="{5555E489-DC9A-4F4D-B61F-DB21A79E6982}"/>
              </a:ext>
            </a:extLst>
          </p:cNvPr>
          <p:cNvSpPr>
            <a:spLocks noGrp="1" noChangeAspect="1"/>
          </p:cNvSpPr>
          <p:nvPr>
            <p:ph type="body" sz="quarter" idx="10" hasCustomPrompt="1"/>
          </p:nvPr>
        </p:nvSpPr>
        <p:spPr>
          <a:xfrm>
            <a:off x="524113" y="2185997"/>
            <a:ext cx="8696329" cy="4020824"/>
          </a:xfrm>
          <a:prstGeom prst="rect">
            <a:avLst/>
          </a:prstGeom>
        </p:spPr>
        <p:txBody>
          <a:bodyPr lIns="90000" tIns="46800" rIns="90000" bIns="46800">
            <a:noAutofit/>
          </a:bodyPr>
          <a:lstStyle>
            <a:lvl1pPr marL="237061" marR="0" indent="-175680" algn="l" defTabSz="609585" rtl="0" eaLnBrk="1" fontAlgn="auto" latinLnBrk="0" hangingPunct="1">
              <a:lnSpc>
                <a:spcPct val="100000"/>
              </a:lnSpc>
              <a:spcBef>
                <a:spcPts val="800"/>
              </a:spcBef>
              <a:spcAft>
                <a:spcPts val="0"/>
              </a:spcAft>
              <a:buClr>
                <a:schemeClr val="accent1"/>
              </a:buClr>
              <a:buSzTx/>
              <a:buFont typeface="Arial" panose="020B0604020202020204" pitchFamily="34" charset="0"/>
              <a:buChar char="•"/>
              <a:tabLst/>
              <a:defRPr sz="1867" kern="0" baseline="0">
                <a:solidFill>
                  <a:schemeClr val="tx2"/>
                </a:solidFill>
                <a:latin typeface="+mn-lt"/>
              </a:defRPr>
            </a:lvl1pPr>
            <a:lvl2pPr marL="670967" indent="-190495">
              <a:lnSpc>
                <a:spcPct val="100000"/>
              </a:lnSpc>
              <a:spcBef>
                <a:spcPts val="800"/>
              </a:spcBef>
              <a:buClrTx/>
              <a:buFontTx/>
              <a:buChar char="-"/>
              <a:defRPr sz="1733">
                <a:solidFill>
                  <a:schemeClr val="tx2"/>
                </a:solidFill>
                <a:latin typeface="+mn-lt"/>
              </a:defRPr>
            </a:lvl2pPr>
            <a:lvl3pPr marL="1151971" indent="-203195">
              <a:lnSpc>
                <a:spcPct val="100000"/>
              </a:lnSpc>
              <a:spcBef>
                <a:spcPts val="800"/>
              </a:spcBef>
              <a:buClr>
                <a:schemeClr val="accent1"/>
              </a:buClr>
              <a:buFont typeface=".AppleSystemUIFont" charset="-120"/>
              <a:buChar char="•"/>
              <a:defRPr sz="1600" baseline="0">
                <a:solidFill>
                  <a:schemeClr val="tx2"/>
                </a:solidFill>
                <a:latin typeface="+mn-lt"/>
              </a:defRPr>
            </a:lvl3pPr>
            <a:lvl4pPr marL="1631959" indent="-116414">
              <a:lnSpc>
                <a:spcPct val="100000"/>
              </a:lnSpc>
              <a:spcBef>
                <a:spcPts val="800"/>
              </a:spcBef>
              <a:buClrTx/>
              <a:buFontTx/>
              <a:buChar char="-"/>
              <a:tabLst/>
              <a:defRPr sz="1467" baseline="0">
                <a:solidFill>
                  <a:schemeClr val="tx2"/>
                </a:solidFill>
                <a:latin typeface="+mn-lt"/>
              </a:defRPr>
            </a:lvl4pPr>
            <a:lvl5pPr marL="2111947" indent="-237061">
              <a:lnSpc>
                <a:spcPct val="100000"/>
              </a:lnSpc>
              <a:spcBef>
                <a:spcPts val="800"/>
              </a:spcBef>
              <a:buClr>
                <a:schemeClr val="accent1"/>
              </a:buClr>
              <a:buFont typeface="Arial" panose="020B0604020202020204" pitchFamily="34" charset="0"/>
              <a:buChar char="•"/>
              <a:defRPr sz="1333">
                <a:solidFill>
                  <a:schemeClr val="tx2"/>
                </a:solidFill>
                <a:latin typeface="+mn-lt"/>
              </a:defRPr>
            </a:lvl5pPr>
          </a:lstStyle>
          <a:p>
            <a:pPr lvl="0"/>
            <a:r>
              <a:rPr lang="nl-BE" dirty="0"/>
              <a:t>Tekststijl van het model bewerken</a:t>
            </a:r>
          </a:p>
          <a:p>
            <a:pPr lvl="1"/>
            <a:r>
              <a:rPr lang="nl-BE" dirty="0"/>
              <a:t>Tweede niveau</a:t>
            </a:r>
          </a:p>
          <a:p>
            <a:pPr lvl="2"/>
            <a:r>
              <a:rPr lang="nl-BE" dirty="0"/>
              <a:t>Derde niveau</a:t>
            </a:r>
          </a:p>
          <a:p>
            <a:pPr lvl="3"/>
            <a:r>
              <a:rPr lang="nl-BE" dirty="0"/>
              <a:t>Vierde niveau</a:t>
            </a:r>
          </a:p>
          <a:p>
            <a:pPr lvl="4"/>
            <a:r>
              <a:rPr lang="nl-BE" dirty="0"/>
              <a:t>Vijfde niveau</a:t>
            </a:r>
          </a:p>
        </p:txBody>
      </p:sp>
      <p:sp>
        <p:nvSpPr>
          <p:cNvPr id="17" name="Freeform: Shape 16">
            <a:extLst>
              <a:ext uri="{FF2B5EF4-FFF2-40B4-BE49-F238E27FC236}">
                <a16:creationId xmlns:a16="http://schemas.microsoft.com/office/drawing/2014/main" id="{B78883F9-DB0A-40FA-ABBA-C2B7F911F84A}"/>
              </a:ext>
            </a:extLst>
          </p:cNvPr>
          <p:cNvSpPr>
            <a:spLocks/>
          </p:cNvSpPr>
          <p:nvPr userDrawn="1"/>
        </p:nvSpPr>
        <p:spPr bwMode="auto">
          <a:xfrm>
            <a:off x="9250738" y="0"/>
            <a:ext cx="2941263" cy="6858000"/>
          </a:xfrm>
          <a:custGeom>
            <a:avLst/>
            <a:gdLst>
              <a:gd name="connsiteX0" fmla="*/ 1261459 w 2205947"/>
              <a:gd name="connsiteY0" fmla="*/ 0 h 5143500"/>
              <a:gd name="connsiteX1" fmla="*/ 1296233 w 2205947"/>
              <a:gd name="connsiteY1" fmla="*/ 0 h 5143500"/>
              <a:gd name="connsiteX2" fmla="*/ 2205947 w 2205947"/>
              <a:gd name="connsiteY2" fmla="*/ 0 h 5143500"/>
              <a:gd name="connsiteX3" fmla="*/ 2205947 w 2205947"/>
              <a:gd name="connsiteY3" fmla="*/ 5143500 h 5143500"/>
              <a:gd name="connsiteX4" fmla="*/ 0 w 2205947"/>
              <a:gd name="connsiteY4" fmla="*/ 5143500 h 5143500"/>
              <a:gd name="connsiteX5" fmla="*/ 15393 w 2205947"/>
              <a:gd name="connsiteY5" fmla="*/ 5066863 h 5143500"/>
              <a:gd name="connsiteX6" fmla="*/ 108124 w 2205947"/>
              <a:gd name="connsiteY6" fmla="*/ 4634044 h 5143500"/>
              <a:gd name="connsiteX7" fmla="*/ 241424 w 2205947"/>
              <a:gd name="connsiteY7" fmla="*/ 4131974 h 5143500"/>
              <a:gd name="connsiteX8" fmla="*/ 363133 w 2205947"/>
              <a:gd name="connsiteY8" fmla="*/ 3774178 h 5143500"/>
              <a:gd name="connsiteX9" fmla="*/ 560185 w 2205947"/>
              <a:gd name="connsiteY9" fmla="*/ 3266337 h 5143500"/>
              <a:gd name="connsiteX10" fmla="*/ 699281 w 2205947"/>
              <a:gd name="connsiteY10" fmla="*/ 2943166 h 5143500"/>
              <a:gd name="connsiteX11" fmla="*/ 896333 w 2205947"/>
              <a:gd name="connsiteY11" fmla="*/ 2481493 h 5143500"/>
              <a:gd name="connsiteX12" fmla="*/ 1075998 w 2205947"/>
              <a:gd name="connsiteY12" fmla="*/ 2025591 h 5143500"/>
              <a:gd name="connsiteX13" fmla="*/ 1226685 w 2205947"/>
              <a:gd name="connsiteY13" fmla="*/ 1535063 h 5143500"/>
              <a:gd name="connsiteX14" fmla="*/ 1296233 w 2205947"/>
              <a:gd name="connsiteY14" fmla="*/ 1165725 h 5143500"/>
              <a:gd name="connsiteX15" fmla="*/ 1331007 w 2205947"/>
              <a:gd name="connsiteY15" fmla="*/ 773303 h 5143500"/>
              <a:gd name="connsiteX16" fmla="*/ 1325212 w 2205947"/>
              <a:gd name="connsiteY16" fmla="*/ 478986 h 5143500"/>
              <a:gd name="connsiteX17" fmla="*/ 1302029 w 2205947"/>
              <a:gd name="connsiteY17" fmla="*/ 259691 h 5143500"/>
              <a:gd name="connsiteX18" fmla="*/ 1261459 w 2205947"/>
              <a:gd name="connsiteY18" fmla="*/ 11542 h 5143500"/>
              <a:gd name="connsiteX19" fmla="*/ 1261459 w 2205947"/>
              <a:gd name="connsiteY19"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05947" h="5143500">
                <a:moveTo>
                  <a:pt x="1261459" y="0"/>
                </a:moveTo>
                <a:lnTo>
                  <a:pt x="1296233" y="0"/>
                </a:lnTo>
                <a:lnTo>
                  <a:pt x="2205947" y="0"/>
                </a:lnTo>
                <a:lnTo>
                  <a:pt x="2205947" y="5143500"/>
                </a:lnTo>
                <a:lnTo>
                  <a:pt x="0" y="5143500"/>
                </a:lnTo>
                <a:lnTo>
                  <a:pt x="15393" y="5066863"/>
                </a:lnTo>
                <a:cubicBezTo>
                  <a:pt x="44372" y="4922590"/>
                  <a:pt x="73350" y="4778317"/>
                  <a:pt x="108124" y="4634044"/>
                </a:cubicBezTo>
                <a:cubicBezTo>
                  <a:pt x="148693" y="4466688"/>
                  <a:pt x="195059" y="4299331"/>
                  <a:pt x="241424" y="4131974"/>
                </a:cubicBezTo>
                <a:cubicBezTo>
                  <a:pt x="276198" y="4010785"/>
                  <a:pt x="322563" y="3889596"/>
                  <a:pt x="363133" y="3774178"/>
                </a:cubicBezTo>
                <a:cubicBezTo>
                  <a:pt x="426885" y="3601050"/>
                  <a:pt x="496433" y="3433694"/>
                  <a:pt x="560185" y="3266337"/>
                </a:cubicBezTo>
                <a:cubicBezTo>
                  <a:pt x="606550" y="3156690"/>
                  <a:pt x="652915" y="3052814"/>
                  <a:pt x="699281" y="2943166"/>
                </a:cubicBezTo>
                <a:cubicBezTo>
                  <a:pt x="763033" y="2793122"/>
                  <a:pt x="832581" y="2637308"/>
                  <a:pt x="896333" y="2481493"/>
                </a:cubicBezTo>
                <a:cubicBezTo>
                  <a:pt x="960085" y="2331449"/>
                  <a:pt x="1023838" y="2181406"/>
                  <a:pt x="1075998" y="2025591"/>
                </a:cubicBezTo>
                <a:cubicBezTo>
                  <a:pt x="1133955" y="1864005"/>
                  <a:pt x="1180320" y="1702420"/>
                  <a:pt x="1226685" y="1535063"/>
                </a:cubicBezTo>
                <a:cubicBezTo>
                  <a:pt x="1255664" y="1413874"/>
                  <a:pt x="1284642" y="1292685"/>
                  <a:pt x="1296233" y="1165725"/>
                </a:cubicBezTo>
                <a:cubicBezTo>
                  <a:pt x="1319416" y="1032994"/>
                  <a:pt x="1325212" y="906034"/>
                  <a:pt x="1331007" y="773303"/>
                </a:cubicBezTo>
                <a:cubicBezTo>
                  <a:pt x="1336803" y="675197"/>
                  <a:pt x="1331007" y="577091"/>
                  <a:pt x="1325212" y="478986"/>
                </a:cubicBezTo>
                <a:cubicBezTo>
                  <a:pt x="1319416" y="403964"/>
                  <a:pt x="1313620" y="328942"/>
                  <a:pt x="1302029" y="259691"/>
                </a:cubicBezTo>
                <a:cubicBezTo>
                  <a:pt x="1290438" y="178898"/>
                  <a:pt x="1273051" y="98106"/>
                  <a:pt x="1261459" y="11542"/>
                </a:cubicBezTo>
                <a:cubicBezTo>
                  <a:pt x="1255664" y="11542"/>
                  <a:pt x="1261459" y="5771"/>
                  <a:pt x="1261459" y="0"/>
                </a:cubicBezTo>
                <a:close/>
              </a:path>
            </a:pathLst>
          </a:custGeom>
          <a:solidFill>
            <a:schemeClr val="accent1"/>
          </a:solidFill>
          <a:ln>
            <a:noFill/>
          </a:ln>
        </p:spPr>
        <p:txBody>
          <a:bodyPr vert="horz" wrap="square" lIns="121920" tIns="60960" rIns="121920" bIns="60960" numCol="1" anchor="t" anchorCtr="0" compatLnSpc="1">
            <a:prstTxWarp prst="textNoShape">
              <a:avLst/>
            </a:prstTxWarp>
            <a:noAutofit/>
          </a:bodyPr>
          <a:lstStyle/>
          <a:p>
            <a:endParaRPr lang="en-BE" sz="2400"/>
          </a:p>
        </p:txBody>
      </p:sp>
      <p:grpSp>
        <p:nvGrpSpPr>
          <p:cNvPr id="6" name="Graphic 6">
            <a:extLst>
              <a:ext uri="{FF2B5EF4-FFF2-40B4-BE49-F238E27FC236}">
                <a16:creationId xmlns:a16="http://schemas.microsoft.com/office/drawing/2014/main" id="{2B0CD8FB-F6D9-4F17-8C64-2B74E9D32008}"/>
              </a:ext>
            </a:extLst>
          </p:cNvPr>
          <p:cNvGrpSpPr>
            <a:grpSpLocks noChangeAspect="1"/>
          </p:cNvGrpSpPr>
          <p:nvPr userDrawn="1"/>
        </p:nvGrpSpPr>
        <p:grpSpPr>
          <a:xfrm>
            <a:off x="9936405" y="5730671"/>
            <a:ext cx="1604699" cy="476157"/>
            <a:chOff x="1454943" y="1645443"/>
            <a:chExt cx="6227445" cy="1847850"/>
          </a:xfrm>
          <a:solidFill>
            <a:schemeClr val="bg1"/>
          </a:solidFill>
        </p:grpSpPr>
        <p:sp>
          <p:nvSpPr>
            <p:cNvPr id="8" name="Freeform: Shape 7">
              <a:extLst>
                <a:ext uri="{FF2B5EF4-FFF2-40B4-BE49-F238E27FC236}">
                  <a16:creationId xmlns:a16="http://schemas.microsoft.com/office/drawing/2014/main" id="{AD00E8B5-B580-4327-B6A2-12010D33443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nl-BE" sz="2400"/>
            </a:p>
          </p:txBody>
        </p:sp>
        <p:sp>
          <p:nvSpPr>
            <p:cNvPr id="9" name="Freeform: Shape 8">
              <a:extLst>
                <a:ext uri="{FF2B5EF4-FFF2-40B4-BE49-F238E27FC236}">
                  <a16:creationId xmlns:a16="http://schemas.microsoft.com/office/drawing/2014/main" id="{8B28B870-3201-4809-9056-3891A3DE26C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nl-BE" sz="2400"/>
            </a:p>
          </p:txBody>
        </p:sp>
      </p:grpSp>
      <p:sp>
        <p:nvSpPr>
          <p:cNvPr id="10" name="Title 10">
            <a:extLst>
              <a:ext uri="{FF2B5EF4-FFF2-40B4-BE49-F238E27FC236}">
                <a16:creationId xmlns:a16="http://schemas.microsoft.com/office/drawing/2014/main" id="{56EA4EA7-D1C4-498B-8A33-4D8E56A28E2F}"/>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ekstpagina</a:t>
            </a:r>
            <a:endParaRPr lang="en-GB" noProof="0" dirty="0"/>
          </a:p>
        </p:txBody>
      </p:sp>
    </p:spTree>
    <p:extLst>
      <p:ext uri="{BB962C8B-B14F-4D97-AF65-F5344CB8AC3E}">
        <p14:creationId xmlns:p14="http://schemas.microsoft.com/office/powerpoint/2010/main" val="366977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pagina 2">
    <p:spTree>
      <p:nvGrpSpPr>
        <p:cNvPr id="1" name=""/>
        <p:cNvGrpSpPr/>
        <p:nvPr/>
      </p:nvGrpSpPr>
      <p:grpSpPr>
        <a:xfrm>
          <a:off x="0" y="0"/>
          <a:ext cx="0" cy="0"/>
          <a:chOff x="0" y="0"/>
          <a:chExt cx="0" cy="0"/>
        </a:xfrm>
      </p:grpSpPr>
      <p:sp>
        <p:nvSpPr>
          <p:cNvPr id="4" name="Tijdelijke aanduiding voor tekst 8">
            <a:extLst>
              <a:ext uri="{FF2B5EF4-FFF2-40B4-BE49-F238E27FC236}">
                <a16:creationId xmlns:a16="http://schemas.microsoft.com/office/drawing/2014/main" id="{5555E489-DC9A-4F4D-B61F-DB21A79E6982}"/>
              </a:ext>
            </a:extLst>
          </p:cNvPr>
          <p:cNvSpPr>
            <a:spLocks noGrp="1" noChangeAspect="1"/>
          </p:cNvSpPr>
          <p:nvPr>
            <p:ph type="body" sz="quarter" idx="10" hasCustomPrompt="1"/>
          </p:nvPr>
        </p:nvSpPr>
        <p:spPr>
          <a:xfrm>
            <a:off x="524112" y="2185997"/>
            <a:ext cx="9220293" cy="4020824"/>
          </a:xfrm>
          <a:prstGeom prst="rect">
            <a:avLst/>
          </a:prstGeom>
        </p:spPr>
        <p:txBody>
          <a:bodyPr lIns="90000" tIns="46800" rIns="90000" bIns="46800">
            <a:noAutofit/>
          </a:bodyPr>
          <a:lstStyle>
            <a:lvl1pPr marL="237061" marR="0" indent="-175680" algn="l" defTabSz="609585" rtl="0" eaLnBrk="1" fontAlgn="auto" latinLnBrk="0" hangingPunct="1">
              <a:lnSpc>
                <a:spcPct val="100000"/>
              </a:lnSpc>
              <a:spcBef>
                <a:spcPts val="800"/>
              </a:spcBef>
              <a:spcAft>
                <a:spcPts val="0"/>
              </a:spcAft>
              <a:buClr>
                <a:schemeClr val="accent1"/>
              </a:buClr>
              <a:buSzTx/>
              <a:buFont typeface="Arial" panose="020B0604020202020204" pitchFamily="34" charset="0"/>
              <a:buChar char="•"/>
              <a:tabLst/>
              <a:defRPr sz="1867" kern="0" baseline="0">
                <a:solidFill>
                  <a:schemeClr val="tx2"/>
                </a:solidFill>
                <a:latin typeface="+mn-lt"/>
              </a:defRPr>
            </a:lvl1pPr>
            <a:lvl2pPr marL="670967" indent="-190495">
              <a:lnSpc>
                <a:spcPct val="100000"/>
              </a:lnSpc>
              <a:spcBef>
                <a:spcPts val="800"/>
              </a:spcBef>
              <a:buClrTx/>
              <a:buFontTx/>
              <a:buChar char="-"/>
              <a:defRPr sz="1733">
                <a:solidFill>
                  <a:schemeClr val="tx2"/>
                </a:solidFill>
                <a:latin typeface="+mn-lt"/>
              </a:defRPr>
            </a:lvl2pPr>
            <a:lvl3pPr marL="1151971" indent="-203195">
              <a:lnSpc>
                <a:spcPct val="100000"/>
              </a:lnSpc>
              <a:spcBef>
                <a:spcPts val="800"/>
              </a:spcBef>
              <a:buClr>
                <a:schemeClr val="accent1"/>
              </a:buClr>
              <a:buFont typeface=".AppleSystemUIFont" charset="-120"/>
              <a:buChar char="•"/>
              <a:defRPr sz="1600" baseline="0">
                <a:solidFill>
                  <a:schemeClr val="tx2"/>
                </a:solidFill>
                <a:latin typeface="+mn-lt"/>
              </a:defRPr>
            </a:lvl3pPr>
            <a:lvl4pPr marL="1631959" indent="-116414">
              <a:lnSpc>
                <a:spcPct val="100000"/>
              </a:lnSpc>
              <a:spcBef>
                <a:spcPts val="800"/>
              </a:spcBef>
              <a:buClrTx/>
              <a:buFontTx/>
              <a:buChar char="-"/>
              <a:tabLst/>
              <a:defRPr sz="1467" baseline="0">
                <a:solidFill>
                  <a:schemeClr val="tx2"/>
                </a:solidFill>
                <a:latin typeface="+mn-lt"/>
              </a:defRPr>
            </a:lvl4pPr>
            <a:lvl5pPr marL="2111947" indent="-237061">
              <a:lnSpc>
                <a:spcPct val="100000"/>
              </a:lnSpc>
              <a:spcBef>
                <a:spcPts val="800"/>
              </a:spcBef>
              <a:buClr>
                <a:schemeClr val="accent1"/>
              </a:buClr>
              <a:buFont typeface="Arial" panose="020B0604020202020204" pitchFamily="34" charset="0"/>
              <a:buChar char="•"/>
              <a:defRPr sz="1333">
                <a:solidFill>
                  <a:schemeClr val="tx2"/>
                </a:solidFill>
                <a:latin typeface="+mn-lt"/>
              </a:defRPr>
            </a:lvl5pPr>
          </a:lstStyle>
          <a:p>
            <a:pPr lvl="0"/>
            <a:r>
              <a:rPr lang="nl-BE" dirty="0"/>
              <a:t>Tekststijl van het model bewerken</a:t>
            </a:r>
          </a:p>
          <a:p>
            <a:pPr lvl="1"/>
            <a:r>
              <a:rPr lang="nl-BE" dirty="0"/>
              <a:t>Tweede niveau</a:t>
            </a:r>
          </a:p>
          <a:p>
            <a:pPr lvl="2"/>
            <a:r>
              <a:rPr lang="nl-BE" dirty="0"/>
              <a:t>Derde niveau</a:t>
            </a:r>
          </a:p>
          <a:p>
            <a:pPr lvl="3"/>
            <a:r>
              <a:rPr lang="nl-BE" dirty="0"/>
              <a:t>Vierde niveau</a:t>
            </a:r>
          </a:p>
          <a:p>
            <a:pPr lvl="4"/>
            <a:r>
              <a:rPr lang="nl-BE" dirty="0"/>
              <a:t>Vijfde niveau</a:t>
            </a:r>
          </a:p>
        </p:txBody>
      </p:sp>
      <p:grpSp>
        <p:nvGrpSpPr>
          <p:cNvPr id="6" name="Graphic 6">
            <a:extLst>
              <a:ext uri="{FF2B5EF4-FFF2-40B4-BE49-F238E27FC236}">
                <a16:creationId xmlns:a16="http://schemas.microsoft.com/office/drawing/2014/main" id="{2B0CD8FB-F6D9-4F17-8C64-2B74E9D32008}"/>
              </a:ext>
            </a:extLst>
          </p:cNvPr>
          <p:cNvGrpSpPr>
            <a:grpSpLocks noChangeAspect="1"/>
          </p:cNvGrpSpPr>
          <p:nvPr userDrawn="1"/>
        </p:nvGrpSpPr>
        <p:grpSpPr>
          <a:xfrm>
            <a:off x="9936405" y="5730671"/>
            <a:ext cx="1604699" cy="476157"/>
            <a:chOff x="1454943" y="1645443"/>
            <a:chExt cx="6227445" cy="1847850"/>
          </a:xfrm>
          <a:solidFill>
            <a:schemeClr val="accent1"/>
          </a:solidFill>
        </p:grpSpPr>
        <p:sp>
          <p:nvSpPr>
            <p:cNvPr id="8" name="Freeform: Shape 7">
              <a:extLst>
                <a:ext uri="{FF2B5EF4-FFF2-40B4-BE49-F238E27FC236}">
                  <a16:creationId xmlns:a16="http://schemas.microsoft.com/office/drawing/2014/main" id="{AD00E8B5-B580-4327-B6A2-12010D33443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nl-BE" sz="2400"/>
            </a:p>
          </p:txBody>
        </p:sp>
        <p:sp>
          <p:nvSpPr>
            <p:cNvPr id="9" name="Freeform: Shape 8">
              <a:extLst>
                <a:ext uri="{FF2B5EF4-FFF2-40B4-BE49-F238E27FC236}">
                  <a16:creationId xmlns:a16="http://schemas.microsoft.com/office/drawing/2014/main" id="{8B28B870-3201-4809-9056-3891A3DE26C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nl-BE" sz="2400"/>
            </a:p>
          </p:txBody>
        </p:sp>
      </p:grpSp>
      <p:sp>
        <p:nvSpPr>
          <p:cNvPr id="10" name="Title 10">
            <a:extLst>
              <a:ext uri="{FF2B5EF4-FFF2-40B4-BE49-F238E27FC236}">
                <a16:creationId xmlns:a16="http://schemas.microsoft.com/office/drawing/2014/main" id="{C5AC9FEE-8975-4C69-B79C-B4D12B8620B1}"/>
              </a:ext>
            </a:extLst>
          </p:cNvPr>
          <p:cNvSpPr>
            <a:spLocks noGrp="1"/>
          </p:cNvSpPr>
          <p:nvPr>
            <p:ph type="title" hasCustomPrompt="1"/>
          </p:nvPr>
        </p:nvSpPr>
        <p:spPr>
          <a:xfrm>
            <a:off x="524112" y="534243"/>
            <a:ext cx="92208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ekstpagina</a:t>
            </a:r>
            <a:endParaRPr lang="en-GB" noProof="0" dirty="0"/>
          </a:p>
        </p:txBody>
      </p:sp>
    </p:spTree>
    <p:extLst>
      <p:ext uri="{BB962C8B-B14F-4D97-AF65-F5344CB8AC3E}">
        <p14:creationId xmlns:p14="http://schemas.microsoft.com/office/powerpoint/2010/main" val="146037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en subheader">
    <p:spTree>
      <p:nvGrpSpPr>
        <p:cNvPr id="1" name=""/>
        <p:cNvGrpSpPr/>
        <p:nvPr/>
      </p:nvGrpSpPr>
      <p:grpSpPr>
        <a:xfrm>
          <a:off x="0" y="0"/>
          <a:ext cx="0" cy="0"/>
          <a:chOff x="0" y="0"/>
          <a:chExt cx="0" cy="0"/>
        </a:xfrm>
      </p:grpSpPr>
      <p:sp>
        <p:nvSpPr>
          <p:cNvPr id="4" name="Tijdelijke aanduiding voor tekst 8">
            <a:extLst>
              <a:ext uri="{FF2B5EF4-FFF2-40B4-BE49-F238E27FC236}">
                <a16:creationId xmlns:a16="http://schemas.microsoft.com/office/drawing/2014/main" id="{5555E489-DC9A-4F4D-B61F-DB21A79E6982}"/>
              </a:ext>
            </a:extLst>
          </p:cNvPr>
          <p:cNvSpPr>
            <a:spLocks noGrp="1"/>
          </p:cNvSpPr>
          <p:nvPr>
            <p:ph type="body" sz="quarter" idx="10" hasCustomPrompt="1"/>
          </p:nvPr>
        </p:nvSpPr>
        <p:spPr>
          <a:xfrm>
            <a:off x="524111" y="2185997"/>
            <a:ext cx="9220800" cy="4022400"/>
          </a:xfrm>
          <a:prstGeom prst="rect">
            <a:avLst/>
          </a:prstGeom>
        </p:spPr>
        <p:txBody>
          <a:bodyPr lIns="90000" tIns="46800" rIns="90000" bIns="46800">
            <a:noAutofit/>
          </a:bodyPr>
          <a:lstStyle>
            <a:lvl1pPr marL="237061" marR="0" indent="-175680" algn="l" defTabSz="609585" rtl="0" eaLnBrk="1" fontAlgn="auto" latinLnBrk="0" hangingPunct="1">
              <a:lnSpc>
                <a:spcPct val="100000"/>
              </a:lnSpc>
              <a:spcBef>
                <a:spcPts val="800"/>
              </a:spcBef>
              <a:spcAft>
                <a:spcPts val="0"/>
              </a:spcAft>
              <a:buClr>
                <a:schemeClr val="accent1"/>
              </a:buClr>
              <a:buSzTx/>
              <a:buFont typeface="Arial" panose="020B0604020202020204" pitchFamily="34" charset="0"/>
              <a:buChar char="•"/>
              <a:tabLst/>
              <a:defRPr sz="1867" kern="0" baseline="0">
                <a:solidFill>
                  <a:schemeClr val="tx2"/>
                </a:solidFill>
                <a:latin typeface="+mn-lt"/>
              </a:defRPr>
            </a:lvl1pPr>
            <a:lvl2pPr marL="670967" indent="-190495">
              <a:lnSpc>
                <a:spcPct val="100000"/>
              </a:lnSpc>
              <a:spcBef>
                <a:spcPts val="800"/>
              </a:spcBef>
              <a:buClrTx/>
              <a:buFontTx/>
              <a:buChar char="-"/>
              <a:defRPr sz="1733">
                <a:solidFill>
                  <a:schemeClr val="tx2"/>
                </a:solidFill>
                <a:latin typeface="+mn-lt"/>
              </a:defRPr>
            </a:lvl2pPr>
            <a:lvl3pPr marL="1151971" indent="-203195">
              <a:lnSpc>
                <a:spcPct val="100000"/>
              </a:lnSpc>
              <a:spcBef>
                <a:spcPts val="800"/>
              </a:spcBef>
              <a:buClr>
                <a:schemeClr val="accent1"/>
              </a:buClr>
              <a:buFont typeface=".AppleSystemUIFont" charset="-120"/>
              <a:buChar char="•"/>
              <a:defRPr sz="1600" baseline="0">
                <a:solidFill>
                  <a:schemeClr val="tx2"/>
                </a:solidFill>
                <a:latin typeface="+mn-lt"/>
              </a:defRPr>
            </a:lvl3pPr>
            <a:lvl4pPr marL="1631959" indent="-116414">
              <a:lnSpc>
                <a:spcPct val="100000"/>
              </a:lnSpc>
              <a:spcBef>
                <a:spcPts val="800"/>
              </a:spcBef>
              <a:buClrTx/>
              <a:buFontTx/>
              <a:buChar char="-"/>
              <a:tabLst/>
              <a:defRPr sz="1467" baseline="0">
                <a:solidFill>
                  <a:schemeClr val="tx2"/>
                </a:solidFill>
                <a:latin typeface="+mn-lt"/>
              </a:defRPr>
            </a:lvl4pPr>
            <a:lvl5pPr marL="2111947" indent="-237061">
              <a:lnSpc>
                <a:spcPct val="100000"/>
              </a:lnSpc>
              <a:spcBef>
                <a:spcPts val="800"/>
              </a:spcBef>
              <a:buClr>
                <a:schemeClr val="accent1"/>
              </a:buClr>
              <a:buFont typeface="Arial" panose="020B0604020202020204" pitchFamily="34" charset="0"/>
              <a:buChar char="•"/>
              <a:defRPr sz="1333">
                <a:solidFill>
                  <a:schemeClr val="tx2"/>
                </a:solidFill>
                <a:latin typeface="+mn-lt"/>
              </a:defRPr>
            </a:lvl5pPr>
          </a:lstStyle>
          <a:p>
            <a:pPr lvl="0"/>
            <a:r>
              <a:rPr lang="en-GB" noProof="0"/>
              <a:t>Tekststijl</a:t>
            </a:r>
            <a:r>
              <a:rPr lang="en-GB" noProof="0" dirty="0"/>
              <a:t> van het model </a:t>
            </a:r>
            <a:r>
              <a:rPr lang="en-GB" noProof="0" dirty="0" err="1"/>
              <a:t>bewerken</a:t>
            </a:r>
            <a:endParaRPr lang="en-GB" noProof="0" dirty="0"/>
          </a:p>
          <a:p>
            <a:pPr lvl="1"/>
            <a:r>
              <a:rPr lang="en-GB" noProof="0" dirty="0" err="1"/>
              <a:t>Tweede</a:t>
            </a:r>
            <a:r>
              <a:rPr lang="en-GB" noProof="0" dirty="0"/>
              <a:t> </a:t>
            </a:r>
            <a:r>
              <a:rPr lang="en-GB" noProof="0" dirty="0" err="1"/>
              <a:t>niveau</a:t>
            </a:r>
            <a:endParaRPr lang="en-GB" noProof="0" dirty="0"/>
          </a:p>
          <a:p>
            <a:pPr lvl="2"/>
            <a:r>
              <a:rPr lang="en-GB" noProof="0" dirty="0" err="1"/>
              <a:t>Derde</a:t>
            </a:r>
            <a:r>
              <a:rPr lang="en-GB" noProof="0" dirty="0"/>
              <a:t> </a:t>
            </a:r>
            <a:r>
              <a:rPr lang="en-GB" noProof="0" dirty="0" err="1"/>
              <a:t>niveau</a:t>
            </a:r>
            <a:endParaRPr lang="en-GB" noProof="0" dirty="0"/>
          </a:p>
          <a:p>
            <a:pPr lvl="3"/>
            <a:r>
              <a:rPr lang="en-GB" noProof="0" dirty="0" err="1"/>
              <a:t>Vierde</a:t>
            </a:r>
            <a:r>
              <a:rPr lang="en-GB" noProof="0" dirty="0"/>
              <a:t> </a:t>
            </a:r>
            <a:r>
              <a:rPr lang="en-GB" noProof="0" dirty="0" err="1"/>
              <a:t>niveau</a:t>
            </a:r>
            <a:endParaRPr lang="en-GB" noProof="0" dirty="0"/>
          </a:p>
          <a:p>
            <a:pPr lvl="4"/>
            <a:r>
              <a:rPr lang="en-GB" noProof="0" dirty="0" err="1"/>
              <a:t>Vijfde</a:t>
            </a:r>
            <a:r>
              <a:rPr lang="en-GB" noProof="0" dirty="0"/>
              <a:t> </a:t>
            </a:r>
            <a:r>
              <a:rPr lang="en-GB" noProof="0" dirty="0" err="1"/>
              <a:t>niveau</a:t>
            </a:r>
            <a:endParaRPr lang="en-GB" noProof="0" dirty="0"/>
          </a:p>
        </p:txBody>
      </p:sp>
      <p:sp>
        <p:nvSpPr>
          <p:cNvPr id="7" name="Title 10">
            <a:extLst>
              <a:ext uri="{FF2B5EF4-FFF2-40B4-BE49-F238E27FC236}">
                <a16:creationId xmlns:a16="http://schemas.microsoft.com/office/drawing/2014/main" id="{8ACD2883-FB52-1843-8626-6040B38332F7}"/>
              </a:ext>
            </a:extLst>
          </p:cNvPr>
          <p:cNvSpPr>
            <a:spLocks noGrp="1"/>
          </p:cNvSpPr>
          <p:nvPr>
            <p:ph type="title" hasCustomPrompt="1"/>
          </p:nvPr>
        </p:nvSpPr>
        <p:spPr>
          <a:xfrm>
            <a:off x="524112" y="534243"/>
            <a:ext cx="92208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Header</a:t>
            </a:r>
          </a:p>
        </p:txBody>
      </p:sp>
      <p:grpSp>
        <p:nvGrpSpPr>
          <p:cNvPr id="6" name="Graphic 6">
            <a:extLst>
              <a:ext uri="{FF2B5EF4-FFF2-40B4-BE49-F238E27FC236}">
                <a16:creationId xmlns:a16="http://schemas.microsoft.com/office/drawing/2014/main" id="{2B0CD8FB-F6D9-4F17-8C64-2B74E9D32008}"/>
              </a:ext>
            </a:extLst>
          </p:cNvPr>
          <p:cNvGrpSpPr>
            <a:grpSpLocks noChangeAspect="1"/>
          </p:cNvGrpSpPr>
          <p:nvPr userDrawn="1"/>
        </p:nvGrpSpPr>
        <p:grpSpPr>
          <a:xfrm>
            <a:off x="9936405" y="5730671"/>
            <a:ext cx="1604699" cy="476157"/>
            <a:chOff x="1454943" y="1645443"/>
            <a:chExt cx="6227445" cy="1847850"/>
          </a:xfrm>
          <a:solidFill>
            <a:schemeClr val="accent1"/>
          </a:solidFill>
        </p:grpSpPr>
        <p:sp>
          <p:nvSpPr>
            <p:cNvPr id="8" name="Freeform: Shape 7">
              <a:extLst>
                <a:ext uri="{FF2B5EF4-FFF2-40B4-BE49-F238E27FC236}">
                  <a16:creationId xmlns:a16="http://schemas.microsoft.com/office/drawing/2014/main" id="{AD00E8B5-B580-4327-B6A2-12010D33443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9" name="Freeform: Shape 8">
              <a:extLst>
                <a:ext uri="{FF2B5EF4-FFF2-40B4-BE49-F238E27FC236}">
                  <a16:creationId xmlns:a16="http://schemas.microsoft.com/office/drawing/2014/main" id="{8B28B870-3201-4809-9056-3891A3DE26C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3" name="Text Placeholder 2">
            <a:extLst>
              <a:ext uri="{FF2B5EF4-FFF2-40B4-BE49-F238E27FC236}">
                <a16:creationId xmlns:a16="http://schemas.microsoft.com/office/drawing/2014/main" id="{5A69D520-CE0D-4FF3-9A5D-730B7686617F}"/>
              </a:ext>
            </a:extLst>
          </p:cNvPr>
          <p:cNvSpPr>
            <a:spLocks noGrp="1"/>
          </p:cNvSpPr>
          <p:nvPr>
            <p:ph type="body" sz="quarter" idx="11" hasCustomPrompt="1"/>
          </p:nvPr>
        </p:nvSpPr>
        <p:spPr>
          <a:xfrm>
            <a:off x="522816" y="1124744"/>
            <a:ext cx="9220800" cy="424732"/>
          </a:xfrm>
          <a:prstGeom prst="rect">
            <a:avLst/>
          </a:prstGeom>
        </p:spPr>
        <p:txBody>
          <a:bodyPr>
            <a:spAutoFit/>
          </a:bodyPr>
          <a:lstStyle>
            <a:lvl1pPr marL="0" indent="0">
              <a:buFont typeface="Arial" panose="020B0604020202020204" pitchFamily="34" charset="0"/>
              <a:buNone/>
              <a:defRPr sz="2400">
                <a:solidFill>
                  <a:schemeClr val="tx2"/>
                </a:solidFill>
              </a:defRPr>
            </a:lvl1pPr>
          </a:lstStyle>
          <a:p>
            <a:pPr lvl="0"/>
            <a:r>
              <a:rPr lang="en-GB" noProof="0" dirty="0" err="1"/>
              <a:t>Subheader</a:t>
            </a:r>
            <a:endParaRPr lang="en-GB" noProof="0" dirty="0"/>
          </a:p>
        </p:txBody>
      </p:sp>
    </p:spTree>
    <p:extLst>
      <p:ext uri="{BB962C8B-B14F-4D97-AF65-F5344CB8AC3E}">
        <p14:creationId xmlns:p14="http://schemas.microsoft.com/office/powerpoint/2010/main" val="248675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foto">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8E73314-AA27-964A-8E21-86D6ACEB9675}"/>
              </a:ext>
            </a:extLst>
          </p:cNvPr>
          <p:cNvSpPr>
            <a:spLocks noGrp="1"/>
          </p:cNvSpPr>
          <p:nvPr>
            <p:ph type="pic" sz="quarter" idx="10"/>
          </p:nvPr>
        </p:nvSpPr>
        <p:spPr>
          <a:xfrm>
            <a:off x="6893527" y="2441501"/>
            <a:ext cx="5310196" cy="4416499"/>
          </a:xfrm>
          <a:custGeom>
            <a:avLst/>
            <a:gdLst>
              <a:gd name="connsiteX0" fmla="*/ 0 w 3925614"/>
              <a:gd name="connsiteY0" fmla="*/ 0 h 3300168"/>
              <a:gd name="connsiteX1" fmla="*/ 3925614 w 3925614"/>
              <a:gd name="connsiteY1" fmla="*/ 0 h 3300168"/>
              <a:gd name="connsiteX2" fmla="*/ 3925614 w 3925614"/>
              <a:gd name="connsiteY2" fmla="*/ 3300168 h 3300168"/>
              <a:gd name="connsiteX3" fmla="*/ 0 w 3925614"/>
              <a:gd name="connsiteY3" fmla="*/ 3300168 h 3300168"/>
              <a:gd name="connsiteX4" fmla="*/ 0 w 3925614"/>
              <a:gd name="connsiteY4" fmla="*/ 0 h 3300168"/>
              <a:gd name="connsiteX0" fmla="*/ 0 w 3925614"/>
              <a:gd name="connsiteY0" fmla="*/ 14532 h 3314700"/>
              <a:gd name="connsiteX1" fmla="*/ 2995448 w 3925614"/>
              <a:gd name="connsiteY1" fmla="*/ 0 h 3314700"/>
              <a:gd name="connsiteX2" fmla="*/ 3925614 w 3925614"/>
              <a:gd name="connsiteY2" fmla="*/ 14532 h 3314700"/>
              <a:gd name="connsiteX3" fmla="*/ 3925614 w 3925614"/>
              <a:gd name="connsiteY3" fmla="*/ 3314700 h 3314700"/>
              <a:gd name="connsiteX4" fmla="*/ 0 w 3925614"/>
              <a:gd name="connsiteY4" fmla="*/ 3314700 h 3314700"/>
              <a:gd name="connsiteX5" fmla="*/ 0 w 3925614"/>
              <a:gd name="connsiteY5" fmla="*/ 14532 h 3314700"/>
              <a:gd name="connsiteX0" fmla="*/ 0 w 3925614"/>
              <a:gd name="connsiteY0" fmla="*/ 14532 h 3314700"/>
              <a:gd name="connsiteX1" fmla="*/ 1056290 w 3925614"/>
              <a:gd name="connsiteY1" fmla="*/ 15766 h 3314700"/>
              <a:gd name="connsiteX2" fmla="*/ 2995448 w 3925614"/>
              <a:gd name="connsiteY2" fmla="*/ 0 h 3314700"/>
              <a:gd name="connsiteX3" fmla="*/ 3925614 w 3925614"/>
              <a:gd name="connsiteY3" fmla="*/ 14532 h 3314700"/>
              <a:gd name="connsiteX4" fmla="*/ 3925614 w 3925614"/>
              <a:gd name="connsiteY4" fmla="*/ 3314700 h 3314700"/>
              <a:gd name="connsiteX5" fmla="*/ 0 w 3925614"/>
              <a:gd name="connsiteY5" fmla="*/ 3314700 h 3314700"/>
              <a:gd name="connsiteX6" fmla="*/ 0 w 3925614"/>
              <a:gd name="connsiteY6" fmla="*/ 14532 h 3314700"/>
              <a:gd name="connsiteX0" fmla="*/ 15765 w 3941379"/>
              <a:gd name="connsiteY0" fmla="*/ 14532 h 3314700"/>
              <a:gd name="connsiteX1" fmla="*/ 1072055 w 3941379"/>
              <a:gd name="connsiteY1" fmla="*/ 15766 h 3314700"/>
              <a:gd name="connsiteX2" fmla="*/ 3011213 w 3941379"/>
              <a:gd name="connsiteY2" fmla="*/ 0 h 3314700"/>
              <a:gd name="connsiteX3" fmla="*/ 3941379 w 3941379"/>
              <a:gd name="connsiteY3" fmla="*/ 14532 h 3314700"/>
              <a:gd name="connsiteX4" fmla="*/ 3941379 w 3941379"/>
              <a:gd name="connsiteY4" fmla="*/ 3314700 h 3314700"/>
              <a:gd name="connsiteX5" fmla="*/ 15765 w 3941379"/>
              <a:gd name="connsiteY5" fmla="*/ 3314700 h 3314700"/>
              <a:gd name="connsiteX6" fmla="*/ 0 w 3941379"/>
              <a:gd name="connsiteY6" fmla="*/ 977462 h 3314700"/>
              <a:gd name="connsiteX7" fmla="*/ 15765 w 3941379"/>
              <a:gd name="connsiteY7" fmla="*/ 14532 h 3314700"/>
              <a:gd name="connsiteX0" fmla="*/ 31530 w 3957144"/>
              <a:gd name="connsiteY0" fmla="*/ 14532 h 3314700"/>
              <a:gd name="connsiteX1" fmla="*/ 1087820 w 3957144"/>
              <a:gd name="connsiteY1" fmla="*/ 15766 h 3314700"/>
              <a:gd name="connsiteX2" fmla="*/ 3026978 w 3957144"/>
              <a:gd name="connsiteY2" fmla="*/ 0 h 3314700"/>
              <a:gd name="connsiteX3" fmla="*/ 3957144 w 3957144"/>
              <a:gd name="connsiteY3" fmla="*/ 14532 h 3314700"/>
              <a:gd name="connsiteX4" fmla="*/ 3957144 w 3957144"/>
              <a:gd name="connsiteY4" fmla="*/ 3314700 h 3314700"/>
              <a:gd name="connsiteX5" fmla="*/ 31530 w 3957144"/>
              <a:gd name="connsiteY5" fmla="*/ 3314700 h 3314700"/>
              <a:gd name="connsiteX6" fmla="*/ 0 w 3957144"/>
              <a:gd name="connsiteY6" fmla="*/ 2317531 h 3314700"/>
              <a:gd name="connsiteX7" fmla="*/ 15765 w 3957144"/>
              <a:gd name="connsiteY7" fmla="*/ 977462 h 3314700"/>
              <a:gd name="connsiteX8" fmla="*/ 31530 w 3957144"/>
              <a:gd name="connsiteY8" fmla="*/ 14532 h 3314700"/>
              <a:gd name="connsiteX0" fmla="*/ 31530 w 3957144"/>
              <a:gd name="connsiteY0" fmla="*/ 14532 h 3314700"/>
              <a:gd name="connsiteX1" fmla="*/ 2427889 w 3957144"/>
              <a:gd name="connsiteY1" fmla="*/ 1639615 h 3314700"/>
              <a:gd name="connsiteX2" fmla="*/ 3026978 w 3957144"/>
              <a:gd name="connsiteY2" fmla="*/ 0 h 3314700"/>
              <a:gd name="connsiteX3" fmla="*/ 3957144 w 3957144"/>
              <a:gd name="connsiteY3" fmla="*/ 14532 h 3314700"/>
              <a:gd name="connsiteX4" fmla="*/ 3957144 w 3957144"/>
              <a:gd name="connsiteY4" fmla="*/ 3314700 h 3314700"/>
              <a:gd name="connsiteX5" fmla="*/ 31530 w 3957144"/>
              <a:gd name="connsiteY5" fmla="*/ 3314700 h 3314700"/>
              <a:gd name="connsiteX6" fmla="*/ 0 w 3957144"/>
              <a:gd name="connsiteY6" fmla="*/ 2317531 h 3314700"/>
              <a:gd name="connsiteX7" fmla="*/ 15765 w 3957144"/>
              <a:gd name="connsiteY7" fmla="*/ 977462 h 3314700"/>
              <a:gd name="connsiteX8" fmla="*/ 31530 w 3957144"/>
              <a:gd name="connsiteY8" fmla="*/ 14532 h 3314700"/>
              <a:gd name="connsiteX0" fmla="*/ 31530 w 3957144"/>
              <a:gd name="connsiteY0" fmla="*/ 14532 h 3314700"/>
              <a:gd name="connsiteX1" fmla="*/ 1686910 w 3957144"/>
              <a:gd name="connsiteY1" fmla="*/ 15767 h 3314700"/>
              <a:gd name="connsiteX2" fmla="*/ 3026978 w 3957144"/>
              <a:gd name="connsiteY2" fmla="*/ 0 h 3314700"/>
              <a:gd name="connsiteX3" fmla="*/ 3957144 w 3957144"/>
              <a:gd name="connsiteY3" fmla="*/ 14532 h 3314700"/>
              <a:gd name="connsiteX4" fmla="*/ 3957144 w 3957144"/>
              <a:gd name="connsiteY4" fmla="*/ 3314700 h 3314700"/>
              <a:gd name="connsiteX5" fmla="*/ 31530 w 3957144"/>
              <a:gd name="connsiteY5" fmla="*/ 3314700 h 3314700"/>
              <a:gd name="connsiteX6" fmla="*/ 0 w 3957144"/>
              <a:gd name="connsiteY6" fmla="*/ 2317531 h 3314700"/>
              <a:gd name="connsiteX7" fmla="*/ 15765 w 3957144"/>
              <a:gd name="connsiteY7" fmla="*/ 977462 h 3314700"/>
              <a:gd name="connsiteX8" fmla="*/ 31530 w 3957144"/>
              <a:gd name="connsiteY8" fmla="*/ 14532 h 3314700"/>
              <a:gd name="connsiteX0" fmla="*/ 31530 w 4051738"/>
              <a:gd name="connsiteY0" fmla="*/ 14532 h 3314700"/>
              <a:gd name="connsiteX1" fmla="*/ 1686910 w 4051738"/>
              <a:gd name="connsiteY1" fmla="*/ 15767 h 3314700"/>
              <a:gd name="connsiteX2" fmla="*/ 3026978 w 4051738"/>
              <a:gd name="connsiteY2" fmla="*/ 0 h 3314700"/>
              <a:gd name="connsiteX3" fmla="*/ 4051738 w 4051738"/>
              <a:gd name="connsiteY3" fmla="*/ 739746 h 3314700"/>
              <a:gd name="connsiteX4" fmla="*/ 3957144 w 4051738"/>
              <a:gd name="connsiteY4" fmla="*/ 3314700 h 3314700"/>
              <a:gd name="connsiteX5" fmla="*/ 31530 w 4051738"/>
              <a:gd name="connsiteY5" fmla="*/ 3314700 h 3314700"/>
              <a:gd name="connsiteX6" fmla="*/ 0 w 4051738"/>
              <a:gd name="connsiteY6" fmla="*/ 2317531 h 3314700"/>
              <a:gd name="connsiteX7" fmla="*/ 15765 w 4051738"/>
              <a:gd name="connsiteY7" fmla="*/ 977462 h 3314700"/>
              <a:gd name="connsiteX8" fmla="*/ 31530 w 4051738"/>
              <a:gd name="connsiteY8" fmla="*/ 14532 h 3314700"/>
              <a:gd name="connsiteX0" fmla="*/ 31530 w 3972910"/>
              <a:gd name="connsiteY0" fmla="*/ 14532 h 3314700"/>
              <a:gd name="connsiteX1" fmla="*/ 1686910 w 3972910"/>
              <a:gd name="connsiteY1" fmla="*/ 15767 h 3314700"/>
              <a:gd name="connsiteX2" fmla="*/ 3026978 w 3972910"/>
              <a:gd name="connsiteY2" fmla="*/ 0 h 3314700"/>
              <a:gd name="connsiteX3" fmla="*/ 3972910 w 3972910"/>
              <a:gd name="connsiteY3" fmla="*/ 471732 h 3314700"/>
              <a:gd name="connsiteX4" fmla="*/ 3957144 w 3972910"/>
              <a:gd name="connsiteY4" fmla="*/ 3314700 h 3314700"/>
              <a:gd name="connsiteX5" fmla="*/ 31530 w 3972910"/>
              <a:gd name="connsiteY5" fmla="*/ 3314700 h 3314700"/>
              <a:gd name="connsiteX6" fmla="*/ 0 w 3972910"/>
              <a:gd name="connsiteY6" fmla="*/ 2317531 h 3314700"/>
              <a:gd name="connsiteX7" fmla="*/ 15765 w 3972910"/>
              <a:gd name="connsiteY7" fmla="*/ 977462 h 3314700"/>
              <a:gd name="connsiteX8" fmla="*/ 31530 w 3972910"/>
              <a:gd name="connsiteY8" fmla="*/ 14532 h 3314700"/>
              <a:gd name="connsiteX0" fmla="*/ 31530 w 3972910"/>
              <a:gd name="connsiteY0" fmla="*/ 0 h 3300168"/>
              <a:gd name="connsiteX1" fmla="*/ 1686910 w 3972910"/>
              <a:gd name="connsiteY1" fmla="*/ 1235 h 3300168"/>
              <a:gd name="connsiteX2" fmla="*/ 3026978 w 3972910"/>
              <a:gd name="connsiteY2" fmla="*/ 962931 h 3300168"/>
              <a:gd name="connsiteX3" fmla="*/ 3972910 w 3972910"/>
              <a:gd name="connsiteY3" fmla="*/ 457200 h 3300168"/>
              <a:gd name="connsiteX4" fmla="*/ 3957144 w 3972910"/>
              <a:gd name="connsiteY4" fmla="*/ 3300168 h 3300168"/>
              <a:gd name="connsiteX5" fmla="*/ 31530 w 3972910"/>
              <a:gd name="connsiteY5" fmla="*/ 3300168 h 3300168"/>
              <a:gd name="connsiteX6" fmla="*/ 0 w 3972910"/>
              <a:gd name="connsiteY6" fmla="*/ 2302999 h 3300168"/>
              <a:gd name="connsiteX7" fmla="*/ 15765 w 3972910"/>
              <a:gd name="connsiteY7" fmla="*/ 962930 h 3300168"/>
              <a:gd name="connsiteX8" fmla="*/ 31530 w 3972910"/>
              <a:gd name="connsiteY8" fmla="*/ 0 h 3300168"/>
              <a:gd name="connsiteX0" fmla="*/ 31530 w 3972910"/>
              <a:gd name="connsiteY0" fmla="*/ 0 h 3300168"/>
              <a:gd name="connsiteX1" fmla="*/ 1686910 w 3972910"/>
              <a:gd name="connsiteY1" fmla="*/ 1235 h 3300168"/>
              <a:gd name="connsiteX2" fmla="*/ 3042743 w 3972910"/>
              <a:gd name="connsiteY2" fmla="*/ 158890 h 3300168"/>
              <a:gd name="connsiteX3" fmla="*/ 3972910 w 3972910"/>
              <a:gd name="connsiteY3" fmla="*/ 457200 h 3300168"/>
              <a:gd name="connsiteX4" fmla="*/ 3957144 w 3972910"/>
              <a:gd name="connsiteY4" fmla="*/ 3300168 h 3300168"/>
              <a:gd name="connsiteX5" fmla="*/ 31530 w 3972910"/>
              <a:gd name="connsiteY5" fmla="*/ 3300168 h 3300168"/>
              <a:gd name="connsiteX6" fmla="*/ 0 w 3972910"/>
              <a:gd name="connsiteY6" fmla="*/ 2302999 h 3300168"/>
              <a:gd name="connsiteX7" fmla="*/ 15765 w 3972910"/>
              <a:gd name="connsiteY7" fmla="*/ 962930 h 3300168"/>
              <a:gd name="connsiteX8" fmla="*/ 31530 w 3972910"/>
              <a:gd name="connsiteY8" fmla="*/ 0 h 3300168"/>
              <a:gd name="connsiteX0" fmla="*/ 1781502 w 3972910"/>
              <a:gd name="connsiteY0" fmla="*/ 1181178 h 3298933"/>
              <a:gd name="connsiteX1" fmla="*/ 1686910 w 3972910"/>
              <a:gd name="connsiteY1" fmla="*/ 0 h 3298933"/>
              <a:gd name="connsiteX2" fmla="*/ 3042743 w 3972910"/>
              <a:gd name="connsiteY2" fmla="*/ 157655 h 3298933"/>
              <a:gd name="connsiteX3" fmla="*/ 3972910 w 3972910"/>
              <a:gd name="connsiteY3" fmla="*/ 455965 h 3298933"/>
              <a:gd name="connsiteX4" fmla="*/ 3957144 w 3972910"/>
              <a:gd name="connsiteY4" fmla="*/ 3298933 h 3298933"/>
              <a:gd name="connsiteX5" fmla="*/ 31530 w 3972910"/>
              <a:gd name="connsiteY5" fmla="*/ 3298933 h 3298933"/>
              <a:gd name="connsiteX6" fmla="*/ 0 w 3972910"/>
              <a:gd name="connsiteY6" fmla="*/ 2301764 h 3298933"/>
              <a:gd name="connsiteX7" fmla="*/ 15765 w 3972910"/>
              <a:gd name="connsiteY7" fmla="*/ 961695 h 3298933"/>
              <a:gd name="connsiteX8" fmla="*/ 1781502 w 3972910"/>
              <a:gd name="connsiteY8" fmla="*/ 1181178 h 3298933"/>
              <a:gd name="connsiteX0" fmla="*/ 662150 w 3972910"/>
              <a:gd name="connsiteY0" fmla="*/ 235247 h 3298933"/>
              <a:gd name="connsiteX1" fmla="*/ 1686910 w 3972910"/>
              <a:gd name="connsiteY1" fmla="*/ 0 h 3298933"/>
              <a:gd name="connsiteX2" fmla="*/ 3042743 w 3972910"/>
              <a:gd name="connsiteY2" fmla="*/ 157655 h 3298933"/>
              <a:gd name="connsiteX3" fmla="*/ 3972910 w 3972910"/>
              <a:gd name="connsiteY3" fmla="*/ 455965 h 3298933"/>
              <a:gd name="connsiteX4" fmla="*/ 3957144 w 3972910"/>
              <a:gd name="connsiteY4" fmla="*/ 3298933 h 3298933"/>
              <a:gd name="connsiteX5" fmla="*/ 31530 w 3972910"/>
              <a:gd name="connsiteY5" fmla="*/ 3298933 h 3298933"/>
              <a:gd name="connsiteX6" fmla="*/ 0 w 3972910"/>
              <a:gd name="connsiteY6" fmla="*/ 2301764 h 3298933"/>
              <a:gd name="connsiteX7" fmla="*/ 15765 w 3972910"/>
              <a:gd name="connsiteY7" fmla="*/ 961695 h 3298933"/>
              <a:gd name="connsiteX8" fmla="*/ 662150 w 3972910"/>
              <a:gd name="connsiteY8" fmla="*/ 235247 h 3298933"/>
              <a:gd name="connsiteX0" fmla="*/ 662150 w 3972910"/>
              <a:gd name="connsiteY0" fmla="*/ 235247 h 3298933"/>
              <a:gd name="connsiteX1" fmla="*/ 1686910 w 3972910"/>
              <a:gd name="connsiteY1" fmla="*/ 0 h 3298933"/>
              <a:gd name="connsiteX2" fmla="*/ 3042743 w 3972910"/>
              <a:gd name="connsiteY2" fmla="*/ 157655 h 3298933"/>
              <a:gd name="connsiteX3" fmla="*/ 3972910 w 3972910"/>
              <a:gd name="connsiteY3" fmla="*/ 455965 h 3298933"/>
              <a:gd name="connsiteX4" fmla="*/ 3957144 w 3972910"/>
              <a:gd name="connsiteY4" fmla="*/ 3298933 h 3298933"/>
              <a:gd name="connsiteX5" fmla="*/ 31530 w 3972910"/>
              <a:gd name="connsiteY5" fmla="*/ 3298933 h 3298933"/>
              <a:gd name="connsiteX6" fmla="*/ 0 w 3972910"/>
              <a:gd name="connsiteY6" fmla="*/ 2301764 h 3298933"/>
              <a:gd name="connsiteX7" fmla="*/ 1797268 w 3972910"/>
              <a:gd name="connsiteY7" fmla="*/ 1608081 h 3298933"/>
              <a:gd name="connsiteX8" fmla="*/ 662150 w 3972910"/>
              <a:gd name="connsiteY8" fmla="*/ 235247 h 3298933"/>
              <a:gd name="connsiteX0" fmla="*/ 662150 w 3972910"/>
              <a:gd name="connsiteY0" fmla="*/ 235247 h 3298933"/>
              <a:gd name="connsiteX1" fmla="*/ 1686910 w 3972910"/>
              <a:gd name="connsiteY1" fmla="*/ 0 h 3298933"/>
              <a:gd name="connsiteX2" fmla="*/ 3042743 w 3972910"/>
              <a:gd name="connsiteY2" fmla="*/ 157655 h 3298933"/>
              <a:gd name="connsiteX3" fmla="*/ 3972910 w 3972910"/>
              <a:gd name="connsiteY3" fmla="*/ 455965 h 3298933"/>
              <a:gd name="connsiteX4" fmla="*/ 3957144 w 3972910"/>
              <a:gd name="connsiteY4" fmla="*/ 3298933 h 3298933"/>
              <a:gd name="connsiteX5" fmla="*/ 31530 w 3972910"/>
              <a:gd name="connsiteY5" fmla="*/ 3298933 h 3298933"/>
              <a:gd name="connsiteX6" fmla="*/ 0 w 3972910"/>
              <a:gd name="connsiteY6" fmla="*/ 2301764 h 3298933"/>
              <a:gd name="connsiteX7" fmla="*/ 78827 w 3972910"/>
              <a:gd name="connsiteY7" fmla="*/ 1308536 h 3298933"/>
              <a:gd name="connsiteX8" fmla="*/ 662150 w 397291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2538250 w 3941380"/>
              <a:gd name="connsiteY6" fmla="*/ 2554012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630620 w 3941380"/>
              <a:gd name="connsiteY0" fmla="*/ 235247 h 3298933"/>
              <a:gd name="connsiteX1" fmla="*/ 1655380 w 3941380"/>
              <a:gd name="connsiteY1" fmla="*/ 0 h 3298933"/>
              <a:gd name="connsiteX2" fmla="*/ 3011213 w 3941380"/>
              <a:gd name="connsiteY2" fmla="*/ 157655 h 3298933"/>
              <a:gd name="connsiteX3" fmla="*/ 3941380 w 3941380"/>
              <a:gd name="connsiteY3" fmla="*/ 455965 h 3298933"/>
              <a:gd name="connsiteX4" fmla="*/ 3925614 w 3941380"/>
              <a:gd name="connsiteY4" fmla="*/ 3298933 h 3298933"/>
              <a:gd name="connsiteX5" fmla="*/ 0 w 3941380"/>
              <a:gd name="connsiteY5" fmla="*/ 3298933 h 3298933"/>
              <a:gd name="connsiteX6" fmla="*/ 945933 w 3941380"/>
              <a:gd name="connsiteY6" fmla="*/ 2506716 h 3298933"/>
              <a:gd name="connsiteX7" fmla="*/ 47297 w 3941380"/>
              <a:gd name="connsiteY7" fmla="*/ 1308536 h 3298933"/>
              <a:gd name="connsiteX8" fmla="*/ 630620 w 3941380"/>
              <a:gd name="connsiteY8" fmla="*/ 235247 h 3298933"/>
              <a:gd name="connsiteX0" fmla="*/ 706267 w 4017027"/>
              <a:gd name="connsiteY0" fmla="*/ 235247 h 3298933"/>
              <a:gd name="connsiteX1" fmla="*/ 1731027 w 4017027"/>
              <a:gd name="connsiteY1" fmla="*/ 0 h 3298933"/>
              <a:gd name="connsiteX2" fmla="*/ 3086860 w 4017027"/>
              <a:gd name="connsiteY2" fmla="*/ 157655 h 3298933"/>
              <a:gd name="connsiteX3" fmla="*/ 4017027 w 4017027"/>
              <a:gd name="connsiteY3" fmla="*/ 455965 h 3298933"/>
              <a:gd name="connsiteX4" fmla="*/ 4001261 w 4017027"/>
              <a:gd name="connsiteY4" fmla="*/ 3298933 h 3298933"/>
              <a:gd name="connsiteX5" fmla="*/ 75647 w 4017027"/>
              <a:gd name="connsiteY5" fmla="*/ 3298933 h 3298933"/>
              <a:gd name="connsiteX6" fmla="*/ 1021580 w 4017027"/>
              <a:gd name="connsiteY6" fmla="*/ 2506716 h 3298933"/>
              <a:gd name="connsiteX7" fmla="*/ 28351 w 4017027"/>
              <a:gd name="connsiteY7" fmla="*/ 1340067 h 3298933"/>
              <a:gd name="connsiteX8" fmla="*/ 706267 w 4017027"/>
              <a:gd name="connsiteY8" fmla="*/ 235247 h 3298933"/>
              <a:gd name="connsiteX0" fmla="*/ 691866 w 4002626"/>
              <a:gd name="connsiteY0" fmla="*/ 235247 h 3298933"/>
              <a:gd name="connsiteX1" fmla="*/ 1716626 w 4002626"/>
              <a:gd name="connsiteY1" fmla="*/ 0 h 3298933"/>
              <a:gd name="connsiteX2" fmla="*/ 3072459 w 4002626"/>
              <a:gd name="connsiteY2" fmla="*/ 157655 h 3298933"/>
              <a:gd name="connsiteX3" fmla="*/ 4002626 w 4002626"/>
              <a:gd name="connsiteY3" fmla="*/ 455965 h 3298933"/>
              <a:gd name="connsiteX4" fmla="*/ 3986860 w 4002626"/>
              <a:gd name="connsiteY4" fmla="*/ 3298933 h 3298933"/>
              <a:gd name="connsiteX5" fmla="*/ 61246 w 4002626"/>
              <a:gd name="connsiteY5" fmla="*/ 3298933 h 3298933"/>
              <a:gd name="connsiteX6" fmla="*/ 1007179 w 4002626"/>
              <a:gd name="connsiteY6" fmla="*/ 2506716 h 3298933"/>
              <a:gd name="connsiteX7" fmla="*/ 29716 w 4002626"/>
              <a:gd name="connsiteY7" fmla="*/ 1371598 h 3298933"/>
              <a:gd name="connsiteX8" fmla="*/ 691866 w 4002626"/>
              <a:gd name="connsiteY8" fmla="*/ 235247 h 3298933"/>
              <a:gd name="connsiteX0" fmla="*/ 663095 w 3973855"/>
              <a:gd name="connsiteY0" fmla="*/ 235247 h 3298933"/>
              <a:gd name="connsiteX1" fmla="*/ 1687855 w 3973855"/>
              <a:gd name="connsiteY1" fmla="*/ 0 h 3298933"/>
              <a:gd name="connsiteX2" fmla="*/ 3043688 w 3973855"/>
              <a:gd name="connsiteY2" fmla="*/ 157655 h 3298933"/>
              <a:gd name="connsiteX3" fmla="*/ 3973855 w 3973855"/>
              <a:gd name="connsiteY3" fmla="*/ 455965 h 3298933"/>
              <a:gd name="connsiteX4" fmla="*/ 3958089 w 3973855"/>
              <a:gd name="connsiteY4" fmla="*/ 3298933 h 3298933"/>
              <a:gd name="connsiteX5" fmla="*/ 32475 w 3973855"/>
              <a:gd name="connsiteY5" fmla="*/ 3298933 h 3298933"/>
              <a:gd name="connsiteX6" fmla="*/ 978408 w 3973855"/>
              <a:gd name="connsiteY6" fmla="*/ 2506716 h 3298933"/>
              <a:gd name="connsiteX7" fmla="*/ 945 w 3973855"/>
              <a:gd name="connsiteY7" fmla="*/ 1371598 h 3298933"/>
              <a:gd name="connsiteX8" fmla="*/ 663095 w 3973855"/>
              <a:gd name="connsiteY8" fmla="*/ 235247 h 3298933"/>
              <a:gd name="connsiteX0" fmla="*/ 663095 w 3973855"/>
              <a:gd name="connsiteY0" fmla="*/ 235247 h 3298933"/>
              <a:gd name="connsiteX1" fmla="*/ 1687855 w 3973855"/>
              <a:gd name="connsiteY1" fmla="*/ 0 h 3298933"/>
              <a:gd name="connsiteX2" fmla="*/ 3043688 w 3973855"/>
              <a:gd name="connsiteY2" fmla="*/ 157655 h 3298933"/>
              <a:gd name="connsiteX3" fmla="*/ 3973855 w 3973855"/>
              <a:gd name="connsiteY3" fmla="*/ 455965 h 3298933"/>
              <a:gd name="connsiteX4" fmla="*/ 3958089 w 3973855"/>
              <a:gd name="connsiteY4" fmla="*/ 3298933 h 3298933"/>
              <a:gd name="connsiteX5" fmla="*/ 32475 w 3973855"/>
              <a:gd name="connsiteY5" fmla="*/ 3298933 h 3298933"/>
              <a:gd name="connsiteX6" fmla="*/ 978408 w 3973855"/>
              <a:gd name="connsiteY6" fmla="*/ 2506716 h 3298933"/>
              <a:gd name="connsiteX7" fmla="*/ 945 w 3973855"/>
              <a:gd name="connsiteY7" fmla="*/ 1371598 h 3298933"/>
              <a:gd name="connsiteX8" fmla="*/ 663095 w 3973855"/>
              <a:gd name="connsiteY8" fmla="*/ 235247 h 3298933"/>
              <a:gd name="connsiteX0" fmla="*/ 663095 w 3973855"/>
              <a:gd name="connsiteY0" fmla="*/ 235247 h 3298933"/>
              <a:gd name="connsiteX1" fmla="*/ 1687855 w 3973855"/>
              <a:gd name="connsiteY1" fmla="*/ 0 h 3298933"/>
              <a:gd name="connsiteX2" fmla="*/ 3043688 w 3973855"/>
              <a:gd name="connsiteY2" fmla="*/ 157655 h 3298933"/>
              <a:gd name="connsiteX3" fmla="*/ 3973855 w 3973855"/>
              <a:gd name="connsiteY3" fmla="*/ 455965 h 3298933"/>
              <a:gd name="connsiteX4" fmla="*/ 3958089 w 3973855"/>
              <a:gd name="connsiteY4" fmla="*/ 3298933 h 3298933"/>
              <a:gd name="connsiteX5" fmla="*/ 32475 w 3973855"/>
              <a:gd name="connsiteY5" fmla="*/ 3298933 h 3298933"/>
              <a:gd name="connsiteX6" fmla="*/ 978408 w 3973855"/>
              <a:gd name="connsiteY6" fmla="*/ 2506716 h 3298933"/>
              <a:gd name="connsiteX7" fmla="*/ 945 w 3973855"/>
              <a:gd name="connsiteY7" fmla="*/ 1371598 h 3298933"/>
              <a:gd name="connsiteX8" fmla="*/ 663095 w 3973855"/>
              <a:gd name="connsiteY8" fmla="*/ 235247 h 3298933"/>
              <a:gd name="connsiteX0" fmla="*/ 663095 w 3973855"/>
              <a:gd name="connsiteY0" fmla="*/ 235247 h 3298933"/>
              <a:gd name="connsiteX1" fmla="*/ 1687855 w 3973855"/>
              <a:gd name="connsiteY1" fmla="*/ 0 h 3298933"/>
              <a:gd name="connsiteX2" fmla="*/ 3043688 w 3973855"/>
              <a:gd name="connsiteY2" fmla="*/ 157655 h 3298933"/>
              <a:gd name="connsiteX3" fmla="*/ 3973855 w 3973855"/>
              <a:gd name="connsiteY3" fmla="*/ 455965 h 3298933"/>
              <a:gd name="connsiteX4" fmla="*/ 3958089 w 3973855"/>
              <a:gd name="connsiteY4" fmla="*/ 3298933 h 3298933"/>
              <a:gd name="connsiteX5" fmla="*/ 32475 w 3973855"/>
              <a:gd name="connsiteY5" fmla="*/ 3298933 h 3298933"/>
              <a:gd name="connsiteX6" fmla="*/ 978408 w 3973855"/>
              <a:gd name="connsiteY6" fmla="*/ 2506716 h 3298933"/>
              <a:gd name="connsiteX7" fmla="*/ 945 w 3973855"/>
              <a:gd name="connsiteY7" fmla="*/ 1371598 h 3298933"/>
              <a:gd name="connsiteX8" fmla="*/ 663095 w 3973855"/>
              <a:gd name="connsiteY8" fmla="*/ 235247 h 3298933"/>
              <a:gd name="connsiteX0" fmla="*/ 663095 w 3973855"/>
              <a:gd name="connsiteY0" fmla="*/ 235247 h 3314699"/>
              <a:gd name="connsiteX1" fmla="*/ 1687855 w 3973855"/>
              <a:gd name="connsiteY1" fmla="*/ 0 h 3314699"/>
              <a:gd name="connsiteX2" fmla="*/ 3043688 w 3973855"/>
              <a:gd name="connsiteY2" fmla="*/ 157655 h 3314699"/>
              <a:gd name="connsiteX3" fmla="*/ 3973855 w 3973855"/>
              <a:gd name="connsiteY3" fmla="*/ 455965 h 3314699"/>
              <a:gd name="connsiteX4" fmla="*/ 3958089 w 3973855"/>
              <a:gd name="connsiteY4" fmla="*/ 3298933 h 3314699"/>
              <a:gd name="connsiteX5" fmla="*/ 757689 w 3973855"/>
              <a:gd name="connsiteY5" fmla="*/ 3314699 h 3314699"/>
              <a:gd name="connsiteX6" fmla="*/ 978408 w 3973855"/>
              <a:gd name="connsiteY6" fmla="*/ 2506716 h 3314699"/>
              <a:gd name="connsiteX7" fmla="*/ 945 w 3973855"/>
              <a:gd name="connsiteY7" fmla="*/ 1371598 h 3314699"/>
              <a:gd name="connsiteX8" fmla="*/ 663095 w 3973855"/>
              <a:gd name="connsiteY8" fmla="*/ 235247 h 3314699"/>
              <a:gd name="connsiteX0" fmla="*/ 663095 w 3973855"/>
              <a:gd name="connsiteY0" fmla="*/ 235247 h 3330465"/>
              <a:gd name="connsiteX1" fmla="*/ 1687855 w 3973855"/>
              <a:gd name="connsiteY1" fmla="*/ 0 h 3330465"/>
              <a:gd name="connsiteX2" fmla="*/ 3043688 w 3973855"/>
              <a:gd name="connsiteY2" fmla="*/ 157655 h 3330465"/>
              <a:gd name="connsiteX3" fmla="*/ 3973855 w 3973855"/>
              <a:gd name="connsiteY3" fmla="*/ 455965 h 3330465"/>
              <a:gd name="connsiteX4" fmla="*/ 3958089 w 3973855"/>
              <a:gd name="connsiteY4" fmla="*/ 3298933 h 3330465"/>
              <a:gd name="connsiteX5" fmla="*/ 332020 w 3973855"/>
              <a:gd name="connsiteY5" fmla="*/ 3330465 h 3330465"/>
              <a:gd name="connsiteX6" fmla="*/ 978408 w 3973855"/>
              <a:gd name="connsiteY6" fmla="*/ 2506716 h 3330465"/>
              <a:gd name="connsiteX7" fmla="*/ 945 w 3973855"/>
              <a:gd name="connsiteY7" fmla="*/ 1371598 h 3330465"/>
              <a:gd name="connsiteX8" fmla="*/ 663095 w 3973855"/>
              <a:gd name="connsiteY8" fmla="*/ 235247 h 3330465"/>
              <a:gd name="connsiteX0" fmla="*/ 663095 w 3973855"/>
              <a:gd name="connsiteY0" fmla="*/ 235247 h 3330465"/>
              <a:gd name="connsiteX1" fmla="*/ 1687855 w 3973855"/>
              <a:gd name="connsiteY1" fmla="*/ 0 h 3330465"/>
              <a:gd name="connsiteX2" fmla="*/ 3043688 w 3973855"/>
              <a:gd name="connsiteY2" fmla="*/ 157655 h 3330465"/>
              <a:gd name="connsiteX3" fmla="*/ 3973855 w 3973855"/>
              <a:gd name="connsiteY3" fmla="*/ 455965 h 3330465"/>
              <a:gd name="connsiteX4" fmla="*/ 3958089 w 3973855"/>
              <a:gd name="connsiteY4" fmla="*/ 3298933 h 3330465"/>
              <a:gd name="connsiteX5" fmla="*/ 332020 w 3973855"/>
              <a:gd name="connsiteY5" fmla="*/ 3330465 h 3330465"/>
              <a:gd name="connsiteX6" fmla="*/ 978408 w 3973855"/>
              <a:gd name="connsiteY6" fmla="*/ 2506716 h 3330465"/>
              <a:gd name="connsiteX7" fmla="*/ 945 w 3973855"/>
              <a:gd name="connsiteY7" fmla="*/ 1371598 h 3330465"/>
              <a:gd name="connsiteX8" fmla="*/ 663095 w 3973855"/>
              <a:gd name="connsiteY8" fmla="*/ 235247 h 3330465"/>
              <a:gd name="connsiteX0" fmla="*/ 663095 w 3973855"/>
              <a:gd name="connsiteY0" fmla="*/ 249297 h 3344515"/>
              <a:gd name="connsiteX1" fmla="*/ 1687855 w 3973855"/>
              <a:gd name="connsiteY1" fmla="*/ 14050 h 3344515"/>
              <a:gd name="connsiteX2" fmla="*/ 3043688 w 3973855"/>
              <a:gd name="connsiteY2" fmla="*/ 171705 h 3344515"/>
              <a:gd name="connsiteX3" fmla="*/ 3973855 w 3973855"/>
              <a:gd name="connsiteY3" fmla="*/ 470015 h 3344515"/>
              <a:gd name="connsiteX4" fmla="*/ 3958089 w 3973855"/>
              <a:gd name="connsiteY4" fmla="*/ 3312983 h 3344515"/>
              <a:gd name="connsiteX5" fmla="*/ 332020 w 3973855"/>
              <a:gd name="connsiteY5" fmla="*/ 3344515 h 3344515"/>
              <a:gd name="connsiteX6" fmla="*/ 978408 w 3973855"/>
              <a:gd name="connsiteY6" fmla="*/ 2520766 h 3344515"/>
              <a:gd name="connsiteX7" fmla="*/ 945 w 3973855"/>
              <a:gd name="connsiteY7" fmla="*/ 1385648 h 3344515"/>
              <a:gd name="connsiteX8" fmla="*/ 663095 w 3973855"/>
              <a:gd name="connsiteY8" fmla="*/ 249297 h 3344515"/>
              <a:gd name="connsiteX0" fmla="*/ 663095 w 3973855"/>
              <a:gd name="connsiteY0" fmla="*/ 300522 h 3395740"/>
              <a:gd name="connsiteX1" fmla="*/ 1687855 w 3973855"/>
              <a:gd name="connsiteY1" fmla="*/ 2828 h 3395740"/>
              <a:gd name="connsiteX2" fmla="*/ 3043688 w 3973855"/>
              <a:gd name="connsiteY2" fmla="*/ 222930 h 3395740"/>
              <a:gd name="connsiteX3" fmla="*/ 3973855 w 3973855"/>
              <a:gd name="connsiteY3" fmla="*/ 521240 h 3395740"/>
              <a:gd name="connsiteX4" fmla="*/ 3958089 w 3973855"/>
              <a:gd name="connsiteY4" fmla="*/ 3364208 h 3395740"/>
              <a:gd name="connsiteX5" fmla="*/ 332020 w 3973855"/>
              <a:gd name="connsiteY5" fmla="*/ 3395740 h 3395740"/>
              <a:gd name="connsiteX6" fmla="*/ 978408 w 3973855"/>
              <a:gd name="connsiteY6" fmla="*/ 2571991 h 3395740"/>
              <a:gd name="connsiteX7" fmla="*/ 945 w 3973855"/>
              <a:gd name="connsiteY7" fmla="*/ 1436873 h 3395740"/>
              <a:gd name="connsiteX8" fmla="*/ 663095 w 3973855"/>
              <a:gd name="connsiteY8" fmla="*/ 300522 h 3395740"/>
              <a:gd name="connsiteX0" fmla="*/ 663095 w 3973855"/>
              <a:gd name="connsiteY0" fmla="*/ 169817 h 3265035"/>
              <a:gd name="connsiteX1" fmla="*/ 1710157 w 3973855"/>
              <a:gd name="connsiteY1" fmla="*/ 135292 h 3265035"/>
              <a:gd name="connsiteX2" fmla="*/ 3043688 w 3973855"/>
              <a:gd name="connsiteY2" fmla="*/ 92225 h 3265035"/>
              <a:gd name="connsiteX3" fmla="*/ 3973855 w 3973855"/>
              <a:gd name="connsiteY3" fmla="*/ 390535 h 3265035"/>
              <a:gd name="connsiteX4" fmla="*/ 3958089 w 3973855"/>
              <a:gd name="connsiteY4" fmla="*/ 3233503 h 3265035"/>
              <a:gd name="connsiteX5" fmla="*/ 332020 w 3973855"/>
              <a:gd name="connsiteY5" fmla="*/ 3265035 h 3265035"/>
              <a:gd name="connsiteX6" fmla="*/ 978408 w 3973855"/>
              <a:gd name="connsiteY6" fmla="*/ 2441286 h 3265035"/>
              <a:gd name="connsiteX7" fmla="*/ 945 w 3973855"/>
              <a:gd name="connsiteY7" fmla="*/ 1306168 h 3265035"/>
              <a:gd name="connsiteX8" fmla="*/ 663095 w 3973855"/>
              <a:gd name="connsiteY8" fmla="*/ 169817 h 3265035"/>
              <a:gd name="connsiteX0" fmla="*/ 663095 w 3973855"/>
              <a:gd name="connsiteY0" fmla="*/ 234991 h 3330209"/>
              <a:gd name="connsiteX1" fmla="*/ 1687854 w 3973855"/>
              <a:gd name="connsiteY1" fmla="*/ 22046 h 3330209"/>
              <a:gd name="connsiteX2" fmla="*/ 3043688 w 3973855"/>
              <a:gd name="connsiteY2" fmla="*/ 157399 h 3330209"/>
              <a:gd name="connsiteX3" fmla="*/ 3973855 w 3973855"/>
              <a:gd name="connsiteY3" fmla="*/ 455709 h 3330209"/>
              <a:gd name="connsiteX4" fmla="*/ 3958089 w 3973855"/>
              <a:gd name="connsiteY4" fmla="*/ 3298677 h 3330209"/>
              <a:gd name="connsiteX5" fmla="*/ 332020 w 3973855"/>
              <a:gd name="connsiteY5" fmla="*/ 3330209 h 3330209"/>
              <a:gd name="connsiteX6" fmla="*/ 978408 w 3973855"/>
              <a:gd name="connsiteY6" fmla="*/ 2506460 h 3330209"/>
              <a:gd name="connsiteX7" fmla="*/ 945 w 3973855"/>
              <a:gd name="connsiteY7" fmla="*/ 1371342 h 3330209"/>
              <a:gd name="connsiteX8" fmla="*/ 663095 w 3973855"/>
              <a:gd name="connsiteY8" fmla="*/ 234991 h 3330209"/>
              <a:gd name="connsiteX0" fmla="*/ 663095 w 3973855"/>
              <a:gd name="connsiteY0" fmla="*/ 218351 h 3313569"/>
              <a:gd name="connsiteX1" fmla="*/ 1687854 w 3973855"/>
              <a:gd name="connsiteY1" fmla="*/ 5406 h 3313569"/>
              <a:gd name="connsiteX2" fmla="*/ 3043688 w 3973855"/>
              <a:gd name="connsiteY2" fmla="*/ 140759 h 3313569"/>
              <a:gd name="connsiteX3" fmla="*/ 3973855 w 3973855"/>
              <a:gd name="connsiteY3" fmla="*/ 439069 h 3313569"/>
              <a:gd name="connsiteX4" fmla="*/ 3958089 w 3973855"/>
              <a:gd name="connsiteY4" fmla="*/ 3282037 h 3313569"/>
              <a:gd name="connsiteX5" fmla="*/ 332020 w 3973855"/>
              <a:gd name="connsiteY5" fmla="*/ 3313569 h 3313569"/>
              <a:gd name="connsiteX6" fmla="*/ 978408 w 3973855"/>
              <a:gd name="connsiteY6" fmla="*/ 2489820 h 3313569"/>
              <a:gd name="connsiteX7" fmla="*/ 945 w 3973855"/>
              <a:gd name="connsiteY7" fmla="*/ 1354702 h 3313569"/>
              <a:gd name="connsiteX8" fmla="*/ 663095 w 3973855"/>
              <a:gd name="connsiteY8" fmla="*/ 218351 h 3313569"/>
              <a:gd name="connsiteX0" fmla="*/ 663095 w 3973855"/>
              <a:gd name="connsiteY0" fmla="*/ 218351 h 3313569"/>
              <a:gd name="connsiteX1" fmla="*/ 1687854 w 3973855"/>
              <a:gd name="connsiteY1" fmla="*/ 5406 h 3313569"/>
              <a:gd name="connsiteX2" fmla="*/ 3043688 w 3973855"/>
              <a:gd name="connsiteY2" fmla="*/ 140759 h 3313569"/>
              <a:gd name="connsiteX3" fmla="*/ 3973855 w 3973855"/>
              <a:gd name="connsiteY3" fmla="*/ 439069 h 3313569"/>
              <a:gd name="connsiteX4" fmla="*/ 3958089 w 3973855"/>
              <a:gd name="connsiteY4" fmla="*/ 3282037 h 3313569"/>
              <a:gd name="connsiteX5" fmla="*/ 332020 w 3973855"/>
              <a:gd name="connsiteY5" fmla="*/ 3313569 h 3313569"/>
              <a:gd name="connsiteX6" fmla="*/ 978408 w 3973855"/>
              <a:gd name="connsiteY6" fmla="*/ 2489820 h 3313569"/>
              <a:gd name="connsiteX7" fmla="*/ 945 w 3973855"/>
              <a:gd name="connsiteY7" fmla="*/ 1354702 h 3313569"/>
              <a:gd name="connsiteX8" fmla="*/ 663095 w 3973855"/>
              <a:gd name="connsiteY8" fmla="*/ 218351 h 3313569"/>
              <a:gd name="connsiteX0" fmla="*/ 663095 w 3973855"/>
              <a:gd name="connsiteY0" fmla="*/ 217156 h 3312374"/>
              <a:gd name="connsiteX1" fmla="*/ 1687854 w 3973855"/>
              <a:gd name="connsiteY1" fmla="*/ 4211 h 3312374"/>
              <a:gd name="connsiteX2" fmla="*/ 3043688 w 3973855"/>
              <a:gd name="connsiteY2" fmla="*/ 139564 h 3312374"/>
              <a:gd name="connsiteX3" fmla="*/ 3973855 w 3973855"/>
              <a:gd name="connsiteY3" fmla="*/ 437874 h 3312374"/>
              <a:gd name="connsiteX4" fmla="*/ 3958089 w 3973855"/>
              <a:gd name="connsiteY4" fmla="*/ 3280842 h 3312374"/>
              <a:gd name="connsiteX5" fmla="*/ 332020 w 3973855"/>
              <a:gd name="connsiteY5" fmla="*/ 3312374 h 3312374"/>
              <a:gd name="connsiteX6" fmla="*/ 978408 w 3973855"/>
              <a:gd name="connsiteY6" fmla="*/ 2488625 h 3312374"/>
              <a:gd name="connsiteX7" fmla="*/ 945 w 3973855"/>
              <a:gd name="connsiteY7" fmla="*/ 1353507 h 3312374"/>
              <a:gd name="connsiteX8" fmla="*/ 663095 w 3973855"/>
              <a:gd name="connsiteY8" fmla="*/ 217156 h 3312374"/>
              <a:gd name="connsiteX0" fmla="*/ 663095 w 3973855"/>
              <a:gd name="connsiteY0" fmla="*/ 217156 h 3312374"/>
              <a:gd name="connsiteX1" fmla="*/ 1687854 w 3973855"/>
              <a:gd name="connsiteY1" fmla="*/ 4211 h 3312374"/>
              <a:gd name="connsiteX2" fmla="*/ 3043688 w 3973855"/>
              <a:gd name="connsiteY2" fmla="*/ 139564 h 3312374"/>
              <a:gd name="connsiteX3" fmla="*/ 3973855 w 3973855"/>
              <a:gd name="connsiteY3" fmla="*/ 437874 h 3312374"/>
              <a:gd name="connsiteX4" fmla="*/ 3958089 w 3973855"/>
              <a:gd name="connsiteY4" fmla="*/ 3280842 h 3312374"/>
              <a:gd name="connsiteX5" fmla="*/ 332020 w 3973855"/>
              <a:gd name="connsiteY5" fmla="*/ 3312374 h 3312374"/>
              <a:gd name="connsiteX6" fmla="*/ 978408 w 3973855"/>
              <a:gd name="connsiteY6" fmla="*/ 2488625 h 3312374"/>
              <a:gd name="connsiteX7" fmla="*/ 945 w 3973855"/>
              <a:gd name="connsiteY7" fmla="*/ 1353507 h 3312374"/>
              <a:gd name="connsiteX8" fmla="*/ 663095 w 3973855"/>
              <a:gd name="connsiteY8" fmla="*/ 217156 h 3312374"/>
              <a:gd name="connsiteX0" fmla="*/ 663095 w 3981105"/>
              <a:gd name="connsiteY0" fmla="*/ 217156 h 3312374"/>
              <a:gd name="connsiteX1" fmla="*/ 1687854 w 3981105"/>
              <a:gd name="connsiteY1" fmla="*/ 4211 h 3312374"/>
              <a:gd name="connsiteX2" fmla="*/ 3043688 w 3981105"/>
              <a:gd name="connsiteY2" fmla="*/ 139564 h 3312374"/>
              <a:gd name="connsiteX3" fmla="*/ 3973855 w 3981105"/>
              <a:gd name="connsiteY3" fmla="*/ 437874 h 3312374"/>
              <a:gd name="connsiteX4" fmla="*/ 3980070 w 3981105"/>
              <a:gd name="connsiteY4" fmla="*/ 3311615 h 3312374"/>
              <a:gd name="connsiteX5" fmla="*/ 332020 w 3981105"/>
              <a:gd name="connsiteY5" fmla="*/ 3312374 h 3312374"/>
              <a:gd name="connsiteX6" fmla="*/ 978408 w 3981105"/>
              <a:gd name="connsiteY6" fmla="*/ 2488625 h 3312374"/>
              <a:gd name="connsiteX7" fmla="*/ 945 w 3981105"/>
              <a:gd name="connsiteY7" fmla="*/ 1353507 h 3312374"/>
              <a:gd name="connsiteX8" fmla="*/ 663095 w 3981105"/>
              <a:gd name="connsiteY8" fmla="*/ 217156 h 3312374"/>
              <a:gd name="connsiteX0" fmla="*/ 663095 w 4044193"/>
              <a:gd name="connsiteY0" fmla="*/ 217156 h 3312374"/>
              <a:gd name="connsiteX1" fmla="*/ 1687854 w 4044193"/>
              <a:gd name="connsiteY1" fmla="*/ 4211 h 3312374"/>
              <a:gd name="connsiteX2" fmla="*/ 3043688 w 4044193"/>
              <a:gd name="connsiteY2" fmla="*/ 139564 h 3312374"/>
              <a:gd name="connsiteX3" fmla="*/ 4044193 w 4044193"/>
              <a:gd name="connsiteY3" fmla="*/ 459855 h 3312374"/>
              <a:gd name="connsiteX4" fmla="*/ 3980070 w 4044193"/>
              <a:gd name="connsiteY4" fmla="*/ 3311615 h 3312374"/>
              <a:gd name="connsiteX5" fmla="*/ 332020 w 4044193"/>
              <a:gd name="connsiteY5" fmla="*/ 3312374 h 3312374"/>
              <a:gd name="connsiteX6" fmla="*/ 978408 w 4044193"/>
              <a:gd name="connsiteY6" fmla="*/ 2488625 h 3312374"/>
              <a:gd name="connsiteX7" fmla="*/ 945 w 4044193"/>
              <a:gd name="connsiteY7" fmla="*/ 1353507 h 3312374"/>
              <a:gd name="connsiteX8" fmla="*/ 663095 w 4044193"/>
              <a:gd name="connsiteY8" fmla="*/ 217156 h 3312374"/>
              <a:gd name="connsiteX0" fmla="*/ 663095 w 3982647"/>
              <a:gd name="connsiteY0" fmla="*/ 217156 h 3312374"/>
              <a:gd name="connsiteX1" fmla="*/ 1687854 w 3982647"/>
              <a:gd name="connsiteY1" fmla="*/ 4211 h 3312374"/>
              <a:gd name="connsiteX2" fmla="*/ 3043688 w 3982647"/>
              <a:gd name="connsiteY2" fmla="*/ 139564 h 3312374"/>
              <a:gd name="connsiteX3" fmla="*/ 3982647 w 3982647"/>
              <a:gd name="connsiteY3" fmla="*/ 437874 h 3312374"/>
              <a:gd name="connsiteX4" fmla="*/ 3980070 w 3982647"/>
              <a:gd name="connsiteY4" fmla="*/ 3311615 h 3312374"/>
              <a:gd name="connsiteX5" fmla="*/ 332020 w 3982647"/>
              <a:gd name="connsiteY5" fmla="*/ 3312374 h 3312374"/>
              <a:gd name="connsiteX6" fmla="*/ 978408 w 3982647"/>
              <a:gd name="connsiteY6" fmla="*/ 2488625 h 3312374"/>
              <a:gd name="connsiteX7" fmla="*/ 945 w 3982647"/>
              <a:gd name="connsiteY7" fmla="*/ 1353507 h 3312374"/>
              <a:gd name="connsiteX8" fmla="*/ 663095 w 3982647"/>
              <a:gd name="connsiteY8" fmla="*/ 217156 h 331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2647" h="3312374">
                <a:moveTo>
                  <a:pt x="663095" y="217156"/>
                </a:moveTo>
                <a:cubicBezTo>
                  <a:pt x="1025002" y="77780"/>
                  <a:pt x="1015191" y="66861"/>
                  <a:pt x="1687854" y="4211"/>
                </a:cubicBezTo>
                <a:cubicBezTo>
                  <a:pt x="2243313" y="-5684"/>
                  <a:pt x="2391176" y="-10580"/>
                  <a:pt x="3043688" y="139564"/>
                </a:cubicBezTo>
                <a:cubicBezTo>
                  <a:pt x="3460796" y="252382"/>
                  <a:pt x="3672591" y="338437"/>
                  <a:pt x="3982647" y="437874"/>
                </a:cubicBezTo>
                <a:cubicBezTo>
                  <a:pt x="3977392" y="1385530"/>
                  <a:pt x="3985325" y="2363959"/>
                  <a:pt x="3980070" y="3311615"/>
                </a:cubicBezTo>
                <a:lnTo>
                  <a:pt x="332020" y="3312374"/>
                </a:lnTo>
                <a:cubicBezTo>
                  <a:pt x="631565" y="3001005"/>
                  <a:pt x="1009938" y="3052242"/>
                  <a:pt x="978408" y="2488625"/>
                </a:cubicBezTo>
                <a:cubicBezTo>
                  <a:pt x="883815" y="1836984"/>
                  <a:pt x="142835" y="2020914"/>
                  <a:pt x="945" y="1353507"/>
                </a:cubicBezTo>
                <a:cubicBezTo>
                  <a:pt x="-9565" y="885385"/>
                  <a:pt x="58751" y="590685"/>
                  <a:pt x="663095" y="217156"/>
                </a:cubicBezTo>
                <a:close/>
              </a:path>
            </a:pathLst>
          </a:custGeom>
          <a:solidFill>
            <a:schemeClr val="bg2"/>
          </a:solidFill>
        </p:spPr>
        <p:txBody>
          <a:bodyPr anchor="ctr"/>
          <a:lstStyle>
            <a:lvl1pPr marL="0" indent="0" algn="ctr">
              <a:buNone/>
              <a:defRPr sz="2133" b="0">
                <a:solidFill>
                  <a:schemeClr val="tx2"/>
                </a:solidFill>
                <a:latin typeface="Crank 8 Plus Two" panose="02000506030000020004" pitchFamily="50" charset="0"/>
              </a:defRPr>
            </a:lvl1pPr>
          </a:lstStyle>
          <a:p>
            <a:r>
              <a:rPr lang="nl-NL" dirty="0"/>
              <a:t>Klik op het pictogram als u een afbeelding wilt toevoegen</a:t>
            </a:r>
            <a:endParaRPr dirty="0"/>
          </a:p>
        </p:txBody>
      </p:sp>
      <p:sp>
        <p:nvSpPr>
          <p:cNvPr id="13" name="Text Placeholder 22">
            <a:extLst>
              <a:ext uri="{FF2B5EF4-FFF2-40B4-BE49-F238E27FC236}">
                <a16:creationId xmlns:a16="http://schemas.microsoft.com/office/drawing/2014/main" id="{208FD617-E862-2148-B4D0-2E8F2E1F4147}"/>
              </a:ext>
            </a:extLst>
          </p:cNvPr>
          <p:cNvSpPr>
            <a:spLocks noGrp="1"/>
          </p:cNvSpPr>
          <p:nvPr>
            <p:ph type="body" sz="quarter" idx="12" hasCustomPrompt="1"/>
          </p:nvPr>
        </p:nvSpPr>
        <p:spPr>
          <a:xfrm>
            <a:off x="523201" y="1618401"/>
            <a:ext cx="5548244" cy="4536593"/>
          </a:xfrm>
          <a:prstGeom prst="rect">
            <a:avLst/>
          </a:prstGeom>
        </p:spPr>
        <p:txBody>
          <a:bodyPr/>
          <a:lstStyle>
            <a:lvl1pPr marL="190495" indent="-190495" algn="l">
              <a:buClr>
                <a:schemeClr val="accent1"/>
              </a:buClr>
              <a:buFont typeface="Arial" panose="020B0604020202020204" pitchFamily="34" charset="0"/>
              <a:buChar char="•"/>
              <a:defRPr sz="1867" b="0">
                <a:solidFill>
                  <a:schemeClr val="tx2"/>
                </a:solidFill>
                <a:latin typeface="+mn-lt"/>
                <a:ea typeface="Roboto" panose="02000000000000000000" pitchFamily="2" charset="0"/>
              </a:defRPr>
            </a:lvl1pPr>
          </a:lstStyle>
          <a:p>
            <a:pPr lvl="0"/>
            <a:r>
              <a:rPr lang="en-US" dirty="0"/>
              <a:t>Click to add text</a:t>
            </a:r>
          </a:p>
          <a:p>
            <a:pPr lvl="0"/>
            <a:endParaRPr lang="en-US" dirty="0"/>
          </a:p>
        </p:txBody>
      </p:sp>
      <p:grpSp>
        <p:nvGrpSpPr>
          <p:cNvPr id="17" name="Graphic 6">
            <a:extLst>
              <a:ext uri="{FF2B5EF4-FFF2-40B4-BE49-F238E27FC236}">
                <a16:creationId xmlns:a16="http://schemas.microsoft.com/office/drawing/2014/main" id="{3C0F1095-425A-4316-9DF4-136DD456E9FC}"/>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595CD2C4-A97C-40D6-9861-8B8F611B75A3}"/>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E5DFDD24-D04F-4E78-A408-6139DC5108E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8" name="Title 10">
            <a:extLst>
              <a:ext uri="{FF2B5EF4-FFF2-40B4-BE49-F238E27FC236}">
                <a16:creationId xmlns:a16="http://schemas.microsoft.com/office/drawing/2014/main" id="{DDE53A9E-C470-41A7-894A-9242AAB7848F}"/>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ekst</a:t>
            </a:r>
            <a:r>
              <a:rPr lang="en-GB" noProof="0" dirty="0"/>
              <a:t> + </a:t>
            </a:r>
            <a:r>
              <a:rPr lang="en-GB" noProof="0" dirty="0" err="1"/>
              <a:t>foto</a:t>
            </a:r>
            <a:endParaRPr lang="en-GB" noProof="0" dirty="0"/>
          </a:p>
        </p:txBody>
      </p:sp>
    </p:spTree>
    <p:extLst>
      <p:ext uri="{BB962C8B-B14F-4D97-AF65-F5344CB8AC3E}">
        <p14:creationId xmlns:p14="http://schemas.microsoft.com/office/powerpoint/2010/main" val="41750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Cover slid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6EBA39F4-3986-462B-9ECF-3ADA18E2D8A2}"/>
              </a:ext>
            </a:extLst>
          </p:cNvPr>
          <p:cNvSpPr/>
          <p:nvPr userDrawn="1"/>
        </p:nvSpPr>
        <p:spPr bwMode="auto">
          <a:xfrm>
            <a:off x="-1" y="0"/>
            <a:ext cx="12191999" cy="6858000"/>
          </a:xfrm>
          <a:custGeom>
            <a:avLst/>
            <a:gdLst>
              <a:gd name="connsiteX0" fmla="*/ 0 w 9143999"/>
              <a:gd name="connsiteY0" fmla="*/ 0 h 5143500"/>
              <a:gd name="connsiteX1" fmla="*/ 5676901 w 9143999"/>
              <a:gd name="connsiteY1" fmla="*/ 0 h 5143500"/>
              <a:gd name="connsiteX2" fmla="*/ 5835651 w 9143999"/>
              <a:gd name="connsiteY2" fmla="*/ 285750 h 5143500"/>
              <a:gd name="connsiteX3" fmla="*/ 6159501 w 9143999"/>
              <a:gd name="connsiteY3" fmla="*/ 698500 h 5143500"/>
              <a:gd name="connsiteX4" fmla="*/ 6483351 w 9143999"/>
              <a:gd name="connsiteY4" fmla="*/ 1009650 h 5143500"/>
              <a:gd name="connsiteX5" fmla="*/ 6915151 w 9143999"/>
              <a:gd name="connsiteY5" fmla="*/ 1327150 h 5143500"/>
              <a:gd name="connsiteX6" fmla="*/ 7353301 w 9143999"/>
              <a:gd name="connsiteY6" fmla="*/ 1562100 h 5143500"/>
              <a:gd name="connsiteX7" fmla="*/ 7924801 w 9143999"/>
              <a:gd name="connsiteY7" fmla="*/ 1752600 h 5143500"/>
              <a:gd name="connsiteX8" fmla="*/ 8286751 w 9143999"/>
              <a:gd name="connsiteY8" fmla="*/ 1828800 h 5143500"/>
              <a:gd name="connsiteX9" fmla="*/ 8686801 w 9143999"/>
              <a:gd name="connsiteY9" fmla="*/ 1936750 h 5143500"/>
              <a:gd name="connsiteX10" fmla="*/ 8953501 w 9143999"/>
              <a:gd name="connsiteY10" fmla="*/ 2089150 h 5143500"/>
              <a:gd name="connsiteX11" fmla="*/ 9134923 w 9143999"/>
              <a:gd name="connsiteY11" fmla="*/ 2265363 h 5143500"/>
              <a:gd name="connsiteX12" fmla="*/ 9143999 w 9143999"/>
              <a:gd name="connsiteY12" fmla="*/ 2277482 h 5143500"/>
              <a:gd name="connsiteX13" fmla="*/ 9143999 w 9143999"/>
              <a:gd name="connsiteY13" fmla="*/ 5143500 h 5143500"/>
              <a:gd name="connsiteX14" fmla="*/ 0 w 9143999"/>
              <a:gd name="connsiteY14"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43999" h="5143500">
                <a:moveTo>
                  <a:pt x="0" y="0"/>
                </a:moveTo>
                <a:lnTo>
                  <a:pt x="5676901" y="0"/>
                </a:lnTo>
                <a:cubicBezTo>
                  <a:pt x="5719234" y="89958"/>
                  <a:pt x="5755218" y="169333"/>
                  <a:pt x="5835651" y="285750"/>
                </a:cubicBezTo>
                <a:cubicBezTo>
                  <a:pt x="5916084" y="402167"/>
                  <a:pt x="6051551" y="577850"/>
                  <a:pt x="6159501" y="698500"/>
                </a:cubicBezTo>
                <a:cubicBezTo>
                  <a:pt x="6267451" y="819150"/>
                  <a:pt x="6357409" y="904875"/>
                  <a:pt x="6483351" y="1009650"/>
                </a:cubicBezTo>
                <a:cubicBezTo>
                  <a:pt x="6609293" y="1114425"/>
                  <a:pt x="6770160" y="1235075"/>
                  <a:pt x="6915151" y="1327150"/>
                </a:cubicBezTo>
                <a:cubicBezTo>
                  <a:pt x="7060142" y="1419225"/>
                  <a:pt x="7185026" y="1491192"/>
                  <a:pt x="7353301" y="1562100"/>
                </a:cubicBezTo>
                <a:cubicBezTo>
                  <a:pt x="7521576" y="1633008"/>
                  <a:pt x="7769226" y="1708150"/>
                  <a:pt x="7924801" y="1752600"/>
                </a:cubicBezTo>
                <a:cubicBezTo>
                  <a:pt x="8080376" y="1797050"/>
                  <a:pt x="8159751" y="1798108"/>
                  <a:pt x="8286751" y="1828800"/>
                </a:cubicBezTo>
                <a:cubicBezTo>
                  <a:pt x="8413751" y="1859492"/>
                  <a:pt x="8575676" y="1893358"/>
                  <a:pt x="8686801" y="1936750"/>
                </a:cubicBezTo>
                <a:cubicBezTo>
                  <a:pt x="8797926" y="1980142"/>
                  <a:pt x="8873068" y="2026708"/>
                  <a:pt x="8953501" y="2089150"/>
                </a:cubicBezTo>
                <a:cubicBezTo>
                  <a:pt x="9013826" y="2135982"/>
                  <a:pt x="9089034" y="2210793"/>
                  <a:pt x="9134923" y="2265363"/>
                </a:cubicBezTo>
                <a:lnTo>
                  <a:pt x="9143999" y="2277482"/>
                </a:lnTo>
                <a:lnTo>
                  <a:pt x="9143999" y="5143500"/>
                </a:lnTo>
                <a:lnTo>
                  <a:pt x="0" y="5143500"/>
                </a:ln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19" name="Picture Placeholder 18">
            <a:extLst>
              <a:ext uri="{FF2B5EF4-FFF2-40B4-BE49-F238E27FC236}">
                <a16:creationId xmlns:a16="http://schemas.microsoft.com/office/drawing/2014/main" id="{3143F7F4-82BE-448C-939A-385E07147513}"/>
              </a:ext>
            </a:extLst>
          </p:cNvPr>
          <p:cNvSpPr>
            <a:spLocks noGrp="1"/>
          </p:cNvSpPr>
          <p:nvPr>
            <p:ph type="pic" sz="quarter" idx="10" hasCustomPrompt="1"/>
          </p:nvPr>
        </p:nvSpPr>
        <p:spPr>
          <a:xfrm>
            <a:off x="2" y="1147114"/>
            <a:ext cx="7045132" cy="5710887"/>
          </a:xfrm>
          <a:custGeom>
            <a:avLst/>
            <a:gdLst>
              <a:gd name="connsiteX0" fmla="*/ 0 w 5283849"/>
              <a:gd name="connsiteY0" fmla="*/ 0 h 4283165"/>
              <a:gd name="connsiteX1" fmla="*/ 45318 w 5283849"/>
              <a:gd name="connsiteY1" fmla="*/ 7335 h 4283165"/>
              <a:gd name="connsiteX2" fmla="*/ 666750 w 5283849"/>
              <a:gd name="connsiteY2" fmla="*/ 85817 h 4283165"/>
              <a:gd name="connsiteX3" fmla="*/ 1498600 w 5283849"/>
              <a:gd name="connsiteY3" fmla="*/ 142967 h 4283165"/>
              <a:gd name="connsiteX4" fmla="*/ 1847850 w 5283849"/>
              <a:gd name="connsiteY4" fmla="*/ 136617 h 4283165"/>
              <a:gd name="connsiteX5" fmla="*/ 2597150 w 5283849"/>
              <a:gd name="connsiteY5" fmla="*/ 104867 h 4283165"/>
              <a:gd name="connsiteX6" fmla="*/ 3105150 w 5283849"/>
              <a:gd name="connsiteY6" fmla="*/ 60417 h 4283165"/>
              <a:gd name="connsiteX7" fmla="*/ 3524250 w 5283849"/>
              <a:gd name="connsiteY7" fmla="*/ 15967 h 4283165"/>
              <a:gd name="connsiteX8" fmla="*/ 3892550 w 5283849"/>
              <a:gd name="connsiteY8" fmla="*/ 3267 h 4283165"/>
              <a:gd name="connsiteX9" fmla="*/ 4292600 w 5283849"/>
              <a:gd name="connsiteY9" fmla="*/ 15967 h 4283165"/>
              <a:gd name="connsiteX10" fmla="*/ 4667250 w 5283849"/>
              <a:gd name="connsiteY10" fmla="*/ 104867 h 4283165"/>
              <a:gd name="connsiteX11" fmla="*/ 4895850 w 5283849"/>
              <a:gd name="connsiteY11" fmla="*/ 225517 h 4283165"/>
              <a:gd name="connsiteX12" fmla="*/ 5048250 w 5283849"/>
              <a:gd name="connsiteY12" fmla="*/ 365217 h 4283165"/>
              <a:gd name="connsiteX13" fmla="*/ 5162550 w 5283849"/>
              <a:gd name="connsiteY13" fmla="*/ 549367 h 4283165"/>
              <a:gd name="connsiteX14" fmla="*/ 5257800 w 5283849"/>
              <a:gd name="connsiteY14" fmla="*/ 854167 h 4283165"/>
              <a:gd name="connsiteX15" fmla="*/ 5283200 w 5283849"/>
              <a:gd name="connsiteY15" fmla="*/ 1222467 h 4283165"/>
              <a:gd name="connsiteX16" fmla="*/ 5238750 w 5283849"/>
              <a:gd name="connsiteY16" fmla="*/ 1559017 h 4283165"/>
              <a:gd name="connsiteX17" fmla="*/ 5162550 w 5283849"/>
              <a:gd name="connsiteY17" fmla="*/ 1882867 h 4283165"/>
              <a:gd name="connsiteX18" fmla="*/ 5041900 w 5283849"/>
              <a:gd name="connsiteY18" fmla="*/ 2238467 h 4283165"/>
              <a:gd name="connsiteX19" fmla="*/ 4832350 w 5283849"/>
              <a:gd name="connsiteY19" fmla="*/ 2644867 h 4283165"/>
              <a:gd name="connsiteX20" fmla="*/ 4495800 w 5283849"/>
              <a:gd name="connsiteY20" fmla="*/ 3127467 h 4283165"/>
              <a:gd name="connsiteX21" fmla="*/ 4216400 w 5283849"/>
              <a:gd name="connsiteY21" fmla="*/ 3476717 h 4283165"/>
              <a:gd name="connsiteX22" fmla="*/ 4051300 w 5283849"/>
              <a:gd name="connsiteY22" fmla="*/ 3711667 h 4283165"/>
              <a:gd name="connsiteX23" fmla="*/ 3873500 w 5283849"/>
              <a:gd name="connsiteY23" fmla="*/ 4003767 h 4283165"/>
              <a:gd name="connsiteX24" fmla="*/ 3784601 w 5283849"/>
              <a:gd name="connsiteY24" fmla="*/ 4228796 h 4283165"/>
              <a:gd name="connsiteX25" fmla="*/ 3765590 w 5283849"/>
              <a:gd name="connsiteY25" fmla="*/ 4283165 h 4283165"/>
              <a:gd name="connsiteX26" fmla="*/ 0 w 5283849"/>
              <a:gd name="connsiteY26" fmla="*/ 4283165 h 428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83849" h="4283165">
                <a:moveTo>
                  <a:pt x="0" y="0"/>
                </a:moveTo>
                <a:lnTo>
                  <a:pt x="45318" y="7335"/>
                </a:lnTo>
                <a:cubicBezTo>
                  <a:pt x="207086" y="32685"/>
                  <a:pt x="445426" y="64518"/>
                  <a:pt x="666750" y="85817"/>
                </a:cubicBezTo>
                <a:cubicBezTo>
                  <a:pt x="919692" y="110159"/>
                  <a:pt x="1301750" y="134500"/>
                  <a:pt x="1498600" y="142967"/>
                </a:cubicBezTo>
                <a:cubicBezTo>
                  <a:pt x="1695450" y="151434"/>
                  <a:pt x="1847850" y="136617"/>
                  <a:pt x="1847850" y="136617"/>
                </a:cubicBezTo>
                <a:lnTo>
                  <a:pt x="2597150" y="104867"/>
                </a:lnTo>
                <a:cubicBezTo>
                  <a:pt x="2806700" y="92167"/>
                  <a:pt x="2950633" y="75234"/>
                  <a:pt x="3105150" y="60417"/>
                </a:cubicBezTo>
                <a:cubicBezTo>
                  <a:pt x="3259667" y="45600"/>
                  <a:pt x="3393017" y="25492"/>
                  <a:pt x="3524250" y="15967"/>
                </a:cubicBezTo>
                <a:cubicBezTo>
                  <a:pt x="3655483" y="6442"/>
                  <a:pt x="3764492" y="3267"/>
                  <a:pt x="3892550" y="3267"/>
                </a:cubicBezTo>
                <a:cubicBezTo>
                  <a:pt x="4020608" y="3267"/>
                  <a:pt x="4163483" y="-966"/>
                  <a:pt x="4292600" y="15967"/>
                </a:cubicBezTo>
                <a:cubicBezTo>
                  <a:pt x="4421717" y="32900"/>
                  <a:pt x="4566708" y="69942"/>
                  <a:pt x="4667250" y="104867"/>
                </a:cubicBezTo>
                <a:cubicBezTo>
                  <a:pt x="4767792" y="139792"/>
                  <a:pt x="4832350" y="182125"/>
                  <a:pt x="4895850" y="225517"/>
                </a:cubicBezTo>
                <a:cubicBezTo>
                  <a:pt x="4959350" y="268909"/>
                  <a:pt x="5003800" y="311242"/>
                  <a:pt x="5048250" y="365217"/>
                </a:cubicBezTo>
                <a:cubicBezTo>
                  <a:pt x="5092700" y="419192"/>
                  <a:pt x="5127625" y="467875"/>
                  <a:pt x="5162550" y="549367"/>
                </a:cubicBezTo>
                <a:cubicBezTo>
                  <a:pt x="5197475" y="630859"/>
                  <a:pt x="5237692" y="741984"/>
                  <a:pt x="5257800" y="854167"/>
                </a:cubicBezTo>
                <a:cubicBezTo>
                  <a:pt x="5277908" y="966350"/>
                  <a:pt x="5286375" y="1104992"/>
                  <a:pt x="5283200" y="1222467"/>
                </a:cubicBezTo>
                <a:cubicBezTo>
                  <a:pt x="5280025" y="1339942"/>
                  <a:pt x="5258858" y="1448950"/>
                  <a:pt x="5238750" y="1559017"/>
                </a:cubicBezTo>
                <a:cubicBezTo>
                  <a:pt x="5218642" y="1669084"/>
                  <a:pt x="5195358" y="1769625"/>
                  <a:pt x="5162550" y="1882867"/>
                </a:cubicBezTo>
                <a:cubicBezTo>
                  <a:pt x="5129742" y="1996109"/>
                  <a:pt x="5096933" y="2111467"/>
                  <a:pt x="5041900" y="2238467"/>
                </a:cubicBezTo>
                <a:cubicBezTo>
                  <a:pt x="4986867" y="2365467"/>
                  <a:pt x="4923367" y="2496700"/>
                  <a:pt x="4832350" y="2644867"/>
                </a:cubicBezTo>
                <a:cubicBezTo>
                  <a:pt x="4741333" y="2793034"/>
                  <a:pt x="4598458" y="2988825"/>
                  <a:pt x="4495800" y="3127467"/>
                </a:cubicBezTo>
                <a:cubicBezTo>
                  <a:pt x="4393142" y="3266109"/>
                  <a:pt x="4290483" y="3379350"/>
                  <a:pt x="4216400" y="3476717"/>
                </a:cubicBezTo>
                <a:cubicBezTo>
                  <a:pt x="4142317" y="3574084"/>
                  <a:pt x="4108450" y="3623825"/>
                  <a:pt x="4051300" y="3711667"/>
                </a:cubicBezTo>
                <a:cubicBezTo>
                  <a:pt x="3994150" y="3799509"/>
                  <a:pt x="3930650" y="3881000"/>
                  <a:pt x="3873500" y="4003767"/>
                </a:cubicBezTo>
                <a:cubicBezTo>
                  <a:pt x="3844925" y="4065151"/>
                  <a:pt x="3813705" y="4147436"/>
                  <a:pt x="3784601" y="4228796"/>
                </a:cubicBezTo>
                <a:lnTo>
                  <a:pt x="3765590" y="4283165"/>
                </a:lnTo>
                <a:lnTo>
                  <a:pt x="0" y="4283165"/>
                </a:lnTo>
                <a:close/>
              </a:path>
            </a:pathLst>
          </a:custGeom>
          <a:solidFill>
            <a:schemeClr val="bg2"/>
          </a:solidFill>
        </p:spPr>
        <p:txBody>
          <a:bodyPr wrap="square" tIns="288000" bIns="288000" anchor="t" anchorCtr="0">
            <a:noAutofit/>
          </a:bodyPr>
          <a:lstStyle>
            <a:lvl1pPr marL="0" indent="0" algn="l">
              <a:buFont typeface="Arial" panose="020B0604020202020204" pitchFamily="34" charset="0"/>
              <a:buNone/>
              <a:defRPr sz="2133"/>
            </a:lvl1pPr>
          </a:lstStyle>
          <a:p>
            <a:r>
              <a:rPr lang="nl-BE" noProof="0" dirty="0"/>
              <a:t>Klik op het pictogram als u een afbeelding wilt toevoegen</a:t>
            </a:r>
          </a:p>
        </p:txBody>
      </p:sp>
      <p:sp>
        <p:nvSpPr>
          <p:cNvPr id="20" name="Title 2">
            <a:extLst>
              <a:ext uri="{FF2B5EF4-FFF2-40B4-BE49-F238E27FC236}">
                <a16:creationId xmlns:a16="http://schemas.microsoft.com/office/drawing/2014/main" id="{75852813-7811-4D84-87F8-2FED2B2347F3}"/>
              </a:ext>
            </a:extLst>
          </p:cNvPr>
          <p:cNvSpPr>
            <a:spLocks noGrp="1"/>
          </p:cNvSpPr>
          <p:nvPr>
            <p:ph type="title" hasCustomPrompt="1"/>
          </p:nvPr>
        </p:nvSpPr>
        <p:spPr>
          <a:xfrm>
            <a:off x="7192901" y="3990191"/>
            <a:ext cx="4475899" cy="2216628"/>
          </a:xfrm>
          <a:prstGeom prst="rect">
            <a:avLst/>
          </a:prstGeom>
        </p:spPr>
        <p:txBody>
          <a:bodyPr lIns="90000" rIns="90000"/>
          <a:lstStyle>
            <a:lvl1pPr algn="r">
              <a:defRPr sz="3733">
                <a:solidFill>
                  <a:schemeClr val="bg1"/>
                </a:solidFill>
                <a:latin typeface="Crank 8 Plus Two" panose="02000506030000020004" pitchFamily="50" charset="0"/>
              </a:defRPr>
            </a:lvl1pPr>
          </a:lstStyle>
          <a:p>
            <a:r>
              <a:rPr lang="en-US" dirty="0"/>
              <a:t>Click to edit master text styles</a:t>
            </a:r>
            <a:br>
              <a:rPr lang="en-US" dirty="0"/>
            </a:br>
            <a:endParaRPr dirty="0"/>
          </a:p>
        </p:txBody>
      </p:sp>
      <p:grpSp>
        <p:nvGrpSpPr>
          <p:cNvPr id="6" name="Graphic 6">
            <a:extLst>
              <a:ext uri="{FF2B5EF4-FFF2-40B4-BE49-F238E27FC236}">
                <a16:creationId xmlns:a16="http://schemas.microsoft.com/office/drawing/2014/main" id="{39A3E2FD-4A3B-4378-B8CA-AE2CDF58C2CC}"/>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7" name="Freeform: Shape 6">
              <a:extLst>
                <a:ext uri="{FF2B5EF4-FFF2-40B4-BE49-F238E27FC236}">
                  <a16:creationId xmlns:a16="http://schemas.microsoft.com/office/drawing/2014/main" id="{41A5CA6F-EE6F-48F5-8F04-3D2410BB261F}"/>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8" name="Freeform: Shape 7">
              <a:extLst>
                <a:ext uri="{FF2B5EF4-FFF2-40B4-BE49-F238E27FC236}">
                  <a16:creationId xmlns:a16="http://schemas.microsoft.com/office/drawing/2014/main" id="{872DD822-8E2D-4BCD-AF2B-94ABF2F33DDC}"/>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dirty="0"/>
            </a:p>
          </p:txBody>
        </p:sp>
      </p:grpSp>
    </p:spTree>
    <p:extLst>
      <p:ext uri="{BB962C8B-B14F-4D97-AF65-F5344CB8AC3E}">
        <p14:creationId xmlns:p14="http://schemas.microsoft.com/office/powerpoint/2010/main" val="216101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guide id="3" pos="553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to + teks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8AD3D84-BF0E-FF4A-94B9-E7C197E04A5C}"/>
              </a:ext>
            </a:extLst>
          </p:cNvPr>
          <p:cNvSpPr>
            <a:spLocks noGrp="1"/>
          </p:cNvSpPr>
          <p:nvPr>
            <p:ph type="pic" sz="quarter" idx="10"/>
          </p:nvPr>
        </p:nvSpPr>
        <p:spPr>
          <a:xfrm flipH="1">
            <a:off x="0" y="1942271"/>
            <a:ext cx="4752360" cy="4934159"/>
          </a:xfrm>
          <a:custGeom>
            <a:avLst/>
            <a:gdLst>
              <a:gd name="connsiteX0" fmla="*/ 0 w 3560618"/>
              <a:gd name="connsiteY0" fmla="*/ 0 h 3694112"/>
              <a:gd name="connsiteX1" fmla="*/ 3560618 w 3560618"/>
              <a:gd name="connsiteY1" fmla="*/ 0 h 3694112"/>
              <a:gd name="connsiteX2" fmla="*/ 3560618 w 3560618"/>
              <a:gd name="connsiteY2" fmla="*/ 3694112 h 3694112"/>
              <a:gd name="connsiteX3" fmla="*/ 0 w 3560618"/>
              <a:gd name="connsiteY3" fmla="*/ 3694112 h 3694112"/>
              <a:gd name="connsiteX4" fmla="*/ 0 w 3560618"/>
              <a:gd name="connsiteY4" fmla="*/ 0 h 3694112"/>
              <a:gd name="connsiteX0" fmla="*/ 0 w 3560618"/>
              <a:gd name="connsiteY0" fmla="*/ 0 h 3694112"/>
              <a:gd name="connsiteX1" fmla="*/ 2346181 w 3560618"/>
              <a:gd name="connsiteY1" fmla="*/ 14287 h 3694112"/>
              <a:gd name="connsiteX2" fmla="*/ 3560618 w 3560618"/>
              <a:gd name="connsiteY2" fmla="*/ 0 h 3694112"/>
              <a:gd name="connsiteX3" fmla="*/ 3560618 w 3560618"/>
              <a:gd name="connsiteY3" fmla="*/ 3694112 h 3694112"/>
              <a:gd name="connsiteX4" fmla="*/ 0 w 3560618"/>
              <a:gd name="connsiteY4" fmla="*/ 3694112 h 3694112"/>
              <a:gd name="connsiteX5" fmla="*/ 0 w 3560618"/>
              <a:gd name="connsiteY5" fmla="*/ 0 h 3694112"/>
              <a:gd name="connsiteX0" fmla="*/ 0 w 3560618"/>
              <a:gd name="connsiteY0" fmla="*/ 0 h 3694112"/>
              <a:gd name="connsiteX1" fmla="*/ 988868 w 3560618"/>
              <a:gd name="connsiteY1" fmla="*/ 0 h 3694112"/>
              <a:gd name="connsiteX2" fmla="*/ 2346181 w 3560618"/>
              <a:gd name="connsiteY2" fmla="*/ 14287 h 3694112"/>
              <a:gd name="connsiteX3" fmla="*/ 3560618 w 3560618"/>
              <a:gd name="connsiteY3" fmla="*/ 0 h 3694112"/>
              <a:gd name="connsiteX4" fmla="*/ 3560618 w 3560618"/>
              <a:gd name="connsiteY4" fmla="*/ 3694112 h 3694112"/>
              <a:gd name="connsiteX5" fmla="*/ 0 w 3560618"/>
              <a:gd name="connsiteY5" fmla="*/ 3694112 h 3694112"/>
              <a:gd name="connsiteX6" fmla="*/ 0 w 3560618"/>
              <a:gd name="connsiteY6" fmla="*/ 0 h 3694112"/>
              <a:gd name="connsiteX0" fmla="*/ 0 w 3560618"/>
              <a:gd name="connsiteY0" fmla="*/ 0 h 3694112"/>
              <a:gd name="connsiteX1" fmla="*/ 988868 w 3560618"/>
              <a:gd name="connsiteY1" fmla="*/ 0 h 3694112"/>
              <a:gd name="connsiteX2" fmla="*/ 2346181 w 3560618"/>
              <a:gd name="connsiteY2" fmla="*/ 14287 h 3694112"/>
              <a:gd name="connsiteX3" fmla="*/ 3560618 w 3560618"/>
              <a:gd name="connsiteY3" fmla="*/ 0 h 3694112"/>
              <a:gd name="connsiteX4" fmla="*/ 3560618 w 3560618"/>
              <a:gd name="connsiteY4" fmla="*/ 3694112 h 3694112"/>
              <a:gd name="connsiteX5" fmla="*/ 0 w 3560618"/>
              <a:gd name="connsiteY5" fmla="*/ 3694112 h 3694112"/>
              <a:gd name="connsiteX6" fmla="*/ 3031 w 3560618"/>
              <a:gd name="connsiteY6" fmla="*/ 971550 h 3694112"/>
              <a:gd name="connsiteX7" fmla="*/ 0 w 3560618"/>
              <a:gd name="connsiteY7" fmla="*/ 0 h 3694112"/>
              <a:gd name="connsiteX0" fmla="*/ 272547 w 3833165"/>
              <a:gd name="connsiteY0" fmla="*/ 0 h 3694112"/>
              <a:gd name="connsiteX1" fmla="*/ 1261415 w 3833165"/>
              <a:gd name="connsiteY1" fmla="*/ 0 h 3694112"/>
              <a:gd name="connsiteX2" fmla="*/ 2618728 w 3833165"/>
              <a:gd name="connsiteY2" fmla="*/ 14287 h 3694112"/>
              <a:gd name="connsiteX3" fmla="*/ 3833165 w 3833165"/>
              <a:gd name="connsiteY3" fmla="*/ 0 h 3694112"/>
              <a:gd name="connsiteX4" fmla="*/ 3833165 w 3833165"/>
              <a:gd name="connsiteY4" fmla="*/ 3694112 h 3694112"/>
              <a:gd name="connsiteX5" fmla="*/ 272547 w 3833165"/>
              <a:gd name="connsiteY5" fmla="*/ 3694112 h 3694112"/>
              <a:gd name="connsiteX6" fmla="*/ 247003 w 3833165"/>
              <a:gd name="connsiteY6" fmla="*/ 2400300 h 3694112"/>
              <a:gd name="connsiteX7" fmla="*/ 275578 w 3833165"/>
              <a:gd name="connsiteY7" fmla="*/ 971550 h 3694112"/>
              <a:gd name="connsiteX8" fmla="*/ 272547 w 3833165"/>
              <a:gd name="connsiteY8" fmla="*/ 0 h 3694112"/>
              <a:gd name="connsiteX0" fmla="*/ 143897 w 3704515"/>
              <a:gd name="connsiteY0" fmla="*/ 0 h 3694112"/>
              <a:gd name="connsiteX1" fmla="*/ 1132765 w 3704515"/>
              <a:gd name="connsiteY1" fmla="*/ 0 h 3694112"/>
              <a:gd name="connsiteX2" fmla="*/ 2490078 w 3704515"/>
              <a:gd name="connsiteY2" fmla="*/ 14287 h 3694112"/>
              <a:gd name="connsiteX3" fmla="*/ 3704515 w 3704515"/>
              <a:gd name="connsiteY3" fmla="*/ 0 h 3694112"/>
              <a:gd name="connsiteX4" fmla="*/ 3704515 w 3704515"/>
              <a:gd name="connsiteY4" fmla="*/ 3694112 h 3694112"/>
              <a:gd name="connsiteX5" fmla="*/ 143897 w 3704515"/>
              <a:gd name="connsiteY5" fmla="*/ 3694112 h 3694112"/>
              <a:gd name="connsiteX6" fmla="*/ 1004178 w 3704515"/>
              <a:gd name="connsiteY6" fmla="*/ 2386012 h 3694112"/>
              <a:gd name="connsiteX7" fmla="*/ 146928 w 3704515"/>
              <a:gd name="connsiteY7" fmla="*/ 971550 h 3694112"/>
              <a:gd name="connsiteX8" fmla="*/ 143897 w 3704515"/>
              <a:gd name="connsiteY8" fmla="*/ 0 h 3694112"/>
              <a:gd name="connsiteX0" fmla="*/ 114887 w 3675505"/>
              <a:gd name="connsiteY0" fmla="*/ 0 h 3694112"/>
              <a:gd name="connsiteX1" fmla="*/ 1103755 w 3675505"/>
              <a:gd name="connsiteY1" fmla="*/ 0 h 3694112"/>
              <a:gd name="connsiteX2" fmla="*/ 2461068 w 3675505"/>
              <a:gd name="connsiteY2" fmla="*/ 14287 h 3694112"/>
              <a:gd name="connsiteX3" fmla="*/ 3675505 w 3675505"/>
              <a:gd name="connsiteY3" fmla="*/ 0 h 3694112"/>
              <a:gd name="connsiteX4" fmla="*/ 3675505 w 3675505"/>
              <a:gd name="connsiteY4" fmla="*/ 3694112 h 3694112"/>
              <a:gd name="connsiteX5" fmla="*/ 114887 w 3675505"/>
              <a:gd name="connsiteY5" fmla="*/ 3694112 h 3694112"/>
              <a:gd name="connsiteX6" fmla="*/ 1446655 w 3675505"/>
              <a:gd name="connsiteY6" fmla="*/ 1943099 h 3694112"/>
              <a:gd name="connsiteX7" fmla="*/ 117918 w 3675505"/>
              <a:gd name="connsiteY7" fmla="*/ 971550 h 3694112"/>
              <a:gd name="connsiteX8" fmla="*/ 114887 w 3675505"/>
              <a:gd name="connsiteY8" fmla="*/ 0 h 3694112"/>
              <a:gd name="connsiteX0" fmla="*/ 0 w 3560618"/>
              <a:gd name="connsiteY0" fmla="*/ 0 h 3694112"/>
              <a:gd name="connsiteX1" fmla="*/ 988868 w 3560618"/>
              <a:gd name="connsiteY1" fmla="*/ 0 h 3694112"/>
              <a:gd name="connsiteX2" fmla="*/ 2346181 w 3560618"/>
              <a:gd name="connsiteY2" fmla="*/ 14287 h 3694112"/>
              <a:gd name="connsiteX3" fmla="*/ 3560618 w 3560618"/>
              <a:gd name="connsiteY3" fmla="*/ 0 h 3694112"/>
              <a:gd name="connsiteX4" fmla="*/ 3560618 w 3560618"/>
              <a:gd name="connsiteY4" fmla="*/ 3694112 h 3694112"/>
              <a:gd name="connsiteX5" fmla="*/ 1328737 w 3560618"/>
              <a:gd name="connsiteY5" fmla="*/ 3694112 h 3694112"/>
              <a:gd name="connsiteX6" fmla="*/ 1331768 w 3560618"/>
              <a:gd name="connsiteY6" fmla="*/ 1943099 h 3694112"/>
              <a:gd name="connsiteX7" fmla="*/ 3031 w 3560618"/>
              <a:gd name="connsiteY7" fmla="*/ 971550 h 3694112"/>
              <a:gd name="connsiteX8" fmla="*/ 0 w 3560618"/>
              <a:gd name="connsiteY8" fmla="*/ 0 h 3694112"/>
              <a:gd name="connsiteX0" fmla="*/ 0 w 3560618"/>
              <a:gd name="connsiteY0" fmla="*/ 0 h 3708400"/>
              <a:gd name="connsiteX1" fmla="*/ 988868 w 3560618"/>
              <a:gd name="connsiteY1" fmla="*/ 0 h 3708400"/>
              <a:gd name="connsiteX2" fmla="*/ 2346181 w 3560618"/>
              <a:gd name="connsiteY2" fmla="*/ 14287 h 3708400"/>
              <a:gd name="connsiteX3" fmla="*/ 3560618 w 3560618"/>
              <a:gd name="connsiteY3" fmla="*/ 0 h 3708400"/>
              <a:gd name="connsiteX4" fmla="*/ 3560618 w 3560618"/>
              <a:gd name="connsiteY4" fmla="*/ 3694112 h 3708400"/>
              <a:gd name="connsiteX5" fmla="*/ 700087 w 3560618"/>
              <a:gd name="connsiteY5" fmla="*/ 3708400 h 3708400"/>
              <a:gd name="connsiteX6" fmla="*/ 1331768 w 3560618"/>
              <a:gd name="connsiteY6" fmla="*/ 1943099 h 3708400"/>
              <a:gd name="connsiteX7" fmla="*/ 3031 w 3560618"/>
              <a:gd name="connsiteY7" fmla="*/ 971550 h 3708400"/>
              <a:gd name="connsiteX8" fmla="*/ 0 w 3560618"/>
              <a:gd name="connsiteY8" fmla="*/ 0 h 3708400"/>
              <a:gd name="connsiteX0" fmla="*/ 0 w 3560618"/>
              <a:gd name="connsiteY0" fmla="*/ 0 h 3708400"/>
              <a:gd name="connsiteX1" fmla="*/ 988868 w 3560618"/>
              <a:gd name="connsiteY1" fmla="*/ 0 h 3708400"/>
              <a:gd name="connsiteX2" fmla="*/ 2346181 w 3560618"/>
              <a:gd name="connsiteY2" fmla="*/ 14287 h 3708400"/>
              <a:gd name="connsiteX3" fmla="*/ 3560618 w 3560618"/>
              <a:gd name="connsiteY3" fmla="*/ 0 h 3708400"/>
              <a:gd name="connsiteX4" fmla="*/ 3560618 w 3560618"/>
              <a:gd name="connsiteY4" fmla="*/ 3694112 h 3708400"/>
              <a:gd name="connsiteX5" fmla="*/ 700087 w 3560618"/>
              <a:gd name="connsiteY5" fmla="*/ 3708400 h 3708400"/>
              <a:gd name="connsiteX6" fmla="*/ 345931 w 3560618"/>
              <a:gd name="connsiteY6" fmla="*/ 2000249 h 3708400"/>
              <a:gd name="connsiteX7" fmla="*/ 3031 w 3560618"/>
              <a:gd name="connsiteY7" fmla="*/ 971550 h 3708400"/>
              <a:gd name="connsiteX8" fmla="*/ 0 w 3560618"/>
              <a:gd name="connsiteY8" fmla="*/ 0 h 3708400"/>
              <a:gd name="connsiteX0" fmla="*/ 239895 w 3557626"/>
              <a:gd name="connsiteY0" fmla="*/ 142875 h 3708400"/>
              <a:gd name="connsiteX1" fmla="*/ 985876 w 3557626"/>
              <a:gd name="connsiteY1" fmla="*/ 0 h 3708400"/>
              <a:gd name="connsiteX2" fmla="*/ 2343189 w 3557626"/>
              <a:gd name="connsiteY2" fmla="*/ 14287 h 3708400"/>
              <a:gd name="connsiteX3" fmla="*/ 3557626 w 3557626"/>
              <a:gd name="connsiteY3" fmla="*/ 0 h 3708400"/>
              <a:gd name="connsiteX4" fmla="*/ 3557626 w 3557626"/>
              <a:gd name="connsiteY4" fmla="*/ 3694112 h 3708400"/>
              <a:gd name="connsiteX5" fmla="*/ 697095 w 3557626"/>
              <a:gd name="connsiteY5" fmla="*/ 3708400 h 3708400"/>
              <a:gd name="connsiteX6" fmla="*/ 342939 w 3557626"/>
              <a:gd name="connsiteY6" fmla="*/ 2000249 h 3708400"/>
              <a:gd name="connsiteX7" fmla="*/ 39 w 3557626"/>
              <a:gd name="connsiteY7" fmla="*/ 971550 h 3708400"/>
              <a:gd name="connsiteX8" fmla="*/ 239895 w 3557626"/>
              <a:gd name="connsiteY8" fmla="*/ 142875 h 3708400"/>
              <a:gd name="connsiteX0" fmla="*/ 239895 w 3557626"/>
              <a:gd name="connsiteY0" fmla="*/ 142875 h 3708400"/>
              <a:gd name="connsiteX1" fmla="*/ 985876 w 3557626"/>
              <a:gd name="connsiteY1" fmla="*/ 0 h 3708400"/>
              <a:gd name="connsiteX2" fmla="*/ 2343189 w 3557626"/>
              <a:gd name="connsiteY2" fmla="*/ 14287 h 3708400"/>
              <a:gd name="connsiteX3" fmla="*/ 2728951 w 3557626"/>
              <a:gd name="connsiteY3" fmla="*/ 1585913 h 3708400"/>
              <a:gd name="connsiteX4" fmla="*/ 3557626 w 3557626"/>
              <a:gd name="connsiteY4" fmla="*/ 3694112 h 3708400"/>
              <a:gd name="connsiteX5" fmla="*/ 697095 w 3557626"/>
              <a:gd name="connsiteY5" fmla="*/ 3708400 h 3708400"/>
              <a:gd name="connsiteX6" fmla="*/ 342939 w 3557626"/>
              <a:gd name="connsiteY6" fmla="*/ 2000249 h 3708400"/>
              <a:gd name="connsiteX7" fmla="*/ 39 w 3557626"/>
              <a:gd name="connsiteY7" fmla="*/ 971550 h 3708400"/>
              <a:gd name="connsiteX8" fmla="*/ 239895 w 3557626"/>
              <a:gd name="connsiteY8" fmla="*/ 142875 h 3708400"/>
              <a:gd name="connsiteX0" fmla="*/ 239895 w 3571914"/>
              <a:gd name="connsiteY0" fmla="*/ 142875 h 3708400"/>
              <a:gd name="connsiteX1" fmla="*/ 985876 w 3571914"/>
              <a:gd name="connsiteY1" fmla="*/ 0 h 3708400"/>
              <a:gd name="connsiteX2" fmla="*/ 2343189 w 3571914"/>
              <a:gd name="connsiteY2" fmla="*/ 14287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314614 w 3571914"/>
              <a:gd name="connsiteY2" fmla="*/ 871537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1143001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214601 w 3571914"/>
              <a:gd name="connsiteY2" fmla="*/ 214312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188843 w 3571914"/>
              <a:gd name="connsiteY2" fmla="*/ 184261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188843 w 3571914"/>
              <a:gd name="connsiteY2" fmla="*/ 184261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188843 w 3571914"/>
              <a:gd name="connsiteY2" fmla="*/ 184261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142875 h 3708400"/>
              <a:gd name="connsiteX1" fmla="*/ 985876 w 3571914"/>
              <a:gd name="connsiteY1" fmla="*/ 0 h 3708400"/>
              <a:gd name="connsiteX2" fmla="*/ 2188843 w 3571914"/>
              <a:gd name="connsiteY2" fmla="*/ 184261 h 3708400"/>
              <a:gd name="connsiteX3" fmla="*/ 3571914 w 3571914"/>
              <a:gd name="connsiteY3" fmla="*/ 942976 h 3708400"/>
              <a:gd name="connsiteX4" fmla="*/ 3557626 w 3571914"/>
              <a:gd name="connsiteY4" fmla="*/ 3694112 h 3708400"/>
              <a:gd name="connsiteX5" fmla="*/ 697095 w 3571914"/>
              <a:gd name="connsiteY5" fmla="*/ 3708400 h 3708400"/>
              <a:gd name="connsiteX6" fmla="*/ 342939 w 3571914"/>
              <a:gd name="connsiteY6" fmla="*/ 2000249 h 3708400"/>
              <a:gd name="connsiteX7" fmla="*/ 39 w 3571914"/>
              <a:gd name="connsiteY7" fmla="*/ 971550 h 3708400"/>
              <a:gd name="connsiteX8" fmla="*/ 239895 w 3571914"/>
              <a:gd name="connsiteY8" fmla="*/ 142875 h 3708400"/>
              <a:gd name="connsiteX0" fmla="*/ 239895 w 3571914"/>
              <a:gd name="connsiteY0" fmla="*/ 26527 h 3592052"/>
              <a:gd name="connsiteX1" fmla="*/ 1333606 w 3571914"/>
              <a:gd name="connsiteY1" fmla="*/ 205624 h 3592052"/>
              <a:gd name="connsiteX2" fmla="*/ 2188843 w 3571914"/>
              <a:gd name="connsiteY2" fmla="*/ 67913 h 3592052"/>
              <a:gd name="connsiteX3" fmla="*/ 3571914 w 3571914"/>
              <a:gd name="connsiteY3" fmla="*/ 826628 h 3592052"/>
              <a:gd name="connsiteX4" fmla="*/ 3557626 w 3571914"/>
              <a:gd name="connsiteY4" fmla="*/ 3577764 h 3592052"/>
              <a:gd name="connsiteX5" fmla="*/ 697095 w 3571914"/>
              <a:gd name="connsiteY5" fmla="*/ 3592052 h 3592052"/>
              <a:gd name="connsiteX6" fmla="*/ 342939 w 3571914"/>
              <a:gd name="connsiteY6" fmla="*/ 1883901 h 3592052"/>
              <a:gd name="connsiteX7" fmla="*/ 39 w 3571914"/>
              <a:gd name="connsiteY7" fmla="*/ 855202 h 3592052"/>
              <a:gd name="connsiteX8" fmla="*/ 239895 w 3571914"/>
              <a:gd name="connsiteY8" fmla="*/ 26527 h 3592052"/>
              <a:gd name="connsiteX0" fmla="*/ 239895 w 3571914"/>
              <a:gd name="connsiteY0" fmla="*/ 91360 h 3656885"/>
              <a:gd name="connsiteX1" fmla="*/ 1028806 w 3571914"/>
              <a:gd name="connsiteY1" fmla="*/ 0 h 3656885"/>
              <a:gd name="connsiteX2" fmla="*/ 2188843 w 3571914"/>
              <a:gd name="connsiteY2" fmla="*/ 132746 h 3656885"/>
              <a:gd name="connsiteX3" fmla="*/ 3571914 w 3571914"/>
              <a:gd name="connsiteY3" fmla="*/ 891461 h 3656885"/>
              <a:gd name="connsiteX4" fmla="*/ 3557626 w 3571914"/>
              <a:gd name="connsiteY4" fmla="*/ 3642597 h 3656885"/>
              <a:gd name="connsiteX5" fmla="*/ 697095 w 3571914"/>
              <a:gd name="connsiteY5" fmla="*/ 3656885 h 3656885"/>
              <a:gd name="connsiteX6" fmla="*/ 342939 w 3571914"/>
              <a:gd name="connsiteY6" fmla="*/ 1948734 h 3656885"/>
              <a:gd name="connsiteX7" fmla="*/ 39 w 3571914"/>
              <a:gd name="connsiteY7" fmla="*/ 920035 h 3656885"/>
              <a:gd name="connsiteX8" fmla="*/ 239895 w 3571914"/>
              <a:gd name="connsiteY8" fmla="*/ 91360 h 3656885"/>
              <a:gd name="connsiteX0" fmla="*/ 239895 w 3571914"/>
              <a:gd name="connsiteY0" fmla="*/ 132306 h 3697831"/>
              <a:gd name="connsiteX1" fmla="*/ 1028806 w 3571914"/>
              <a:gd name="connsiteY1" fmla="*/ 40946 h 3697831"/>
              <a:gd name="connsiteX2" fmla="*/ 2188843 w 3571914"/>
              <a:gd name="connsiteY2" fmla="*/ 173692 h 3697831"/>
              <a:gd name="connsiteX3" fmla="*/ 3571914 w 3571914"/>
              <a:gd name="connsiteY3" fmla="*/ 932407 h 3697831"/>
              <a:gd name="connsiteX4" fmla="*/ 3557626 w 3571914"/>
              <a:gd name="connsiteY4" fmla="*/ 3683543 h 3697831"/>
              <a:gd name="connsiteX5" fmla="*/ 697095 w 3571914"/>
              <a:gd name="connsiteY5" fmla="*/ 3697831 h 3697831"/>
              <a:gd name="connsiteX6" fmla="*/ 342939 w 3571914"/>
              <a:gd name="connsiteY6" fmla="*/ 1989680 h 3697831"/>
              <a:gd name="connsiteX7" fmla="*/ 39 w 3571914"/>
              <a:gd name="connsiteY7" fmla="*/ 960981 h 3697831"/>
              <a:gd name="connsiteX8" fmla="*/ 239895 w 3571914"/>
              <a:gd name="connsiteY8" fmla="*/ 132306 h 3697831"/>
              <a:gd name="connsiteX0" fmla="*/ 639140 w 3571914"/>
              <a:gd name="connsiteY0" fmla="*/ 587360 h 3697831"/>
              <a:gd name="connsiteX1" fmla="*/ 1028806 w 3571914"/>
              <a:gd name="connsiteY1" fmla="*/ 40946 h 3697831"/>
              <a:gd name="connsiteX2" fmla="*/ 2188843 w 3571914"/>
              <a:gd name="connsiteY2" fmla="*/ 173692 h 3697831"/>
              <a:gd name="connsiteX3" fmla="*/ 3571914 w 3571914"/>
              <a:gd name="connsiteY3" fmla="*/ 932407 h 3697831"/>
              <a:gd name="connsiteX4" fmla="*/ 3557626 w 3571914"/>
              <a:gd name="connsiteY4" fmla="*/ 3683543 h 3697831"/>
              <a:gd name="connsiteX5" fmla="*/ 697095 w 3571914"/>
              <a:gd name="connsiteY5" fmla="*/ 3697831 h 3697831"/>
              <a:gd name="connsiteX6" fmla="*/ 342939 w 3571914"/>
              <a:gd name="connsiteY6" fmla="*/ 1989680 h 3697831"/>
              <a:gd name="connsiteX7" fmla="*/ 39 w 3571914"/>
              <a:gd name="connsiteY7" fmla="*/ 960981 h 3697831"/>
              <a:gd name="connsiteX8" fmla="*/ 639140 w 3571914"/>
              <a:gd name="connsiteY8" fmla="*/ 587360 h 3697831"/>
              <a:gd name="connsiteX0" fmla="*/ 394441 w 3571914"/>
              <a:gd name="connsiteY0" fmla="*/ 325490 h 3697831"/>
              <a:gd name="connsiteX1" fmla="*/ 1028806 w 3571914"/>
              <a:gd name="connsiteY1" fmla="*/ 40946 h 3697831"/>
              <a:gd name="connsiteX2" fmla="*/ 2188843 w 3571914"/>
              <a:gd name="connsiteY2" fmla="*/ 173692 h 3697831"/>
              <a:gd name="connsiteX3" fmla="*/ 3571914 w 3571914"/>
              <a:gd name="connsiteY3" fmla="*/ 932407 h 3697831"/>
              <a:gd name="connsiteX4" fmla="*/ 3557626 w 3571914"/>
              <a:gd name="connsiteY4" fmla="*/ 3683543 h 3697831"/>
              <a:gd name="connsiteX5" fmla="*/ 697095 w 3571914"/>
              <a:gd name="connsiteY5" fmla="*/ 3697831 h 3697831"/>
              <a:gd name="connsiteX6" fmla="*/ 342939 w 3571914"/>
              <a:gd name="connsiteY6" fmla="*/ 1989680 h 3697831"/>
              <a:gd name="connsiteX7" fmla="*/ 39 w 3571914"/>
              <a:gd name="connsiteY7" fmla="*/ 960981 h 3697831"/>
              <a:gd name="connsiteX8" fmla="*/ 394441 w 3571914"/>
              <a:gd name="connsiteY8" fmla="*/ 325490 h 3697831"/>
              <a:gd name="connsiteX0" fmla="*/ 394441 w 3571914"/>
              <a:gd name="connsiteY0" fmla="*/ 325490 h 3697831"/>
              <a:gd name="connsiteX1" fmla="*/ 1028806 w 3571914"/>
              <a:gd name="connsiteY1" fmla="*/ 40946 h 3697831"/>
              <a:gd name="connsiteX2" fmla="*/ 2188843 w 3571914"/>
              <a:gd name="connsiteY2" fmla="*/ 173692 h 3697831"/>
              <a:gd name="connsiteX3" fmla="*/ 3571914 w 3571914"/>
              <a:gd name="connsiteY3" fmla="*/ 932407 h 3697831"/>
              <a:gd name="connsiteX4" fmla="*/ 3557626 w 3571914"/>
              <a:gd name="connsiteY4" fmla="*/ 3683543 h 3697831"/>
              <a:gd name="connsiteX5" fmla="*/ 697095 w 3571914"/>
              <a:gd name="connsiteY5" fmla="*/ 3697831 h 3697831"/>
              <a:gd name="connsiteX6" fmla="*/ 342939 w 3571914"/>
              <a:gd name="connsiteY6" fmla="*/ 1989680 h 3697831"/>
              <a:gd name="connsiteX7" fmla="*/ 39 w 3571914"/>
              <a:gd name="connsiteY7" fmla="*/ 960981 h 3697831"/>
              <a:gd name="connsiteX8" fmla="*/ 394441 w 3571914"/>
              <a:gd name="connsiteY8" fmla="*/ 325490 h 3697831"/>
              <a:gd name="connsiteX0" fmla="*/ 394441 w 3571914"/>
              <a:gd name="connsiteY0" fmla="*/ 325490 h 3697831"/>
              <a:gd name="connsiteX1" fmla="*/ 1028806 w 3571914"/>
              <a:gd name="connsiteY1" fmla="*/ 40946 h 3697831"/>
              <a:gd name="connsiteX2" fmla="*/ 2188843 w 3571914"/>
              <a:gd name="connsiteY2" fmla="*/ 173692 h 3697831"/>
              <a:gd name="connsiteX3" fmla="*/ 3571914 w 3571914"/>
              <a:gd name="connsiteY3" fmla="*/ 932407 h 3697831"/>
              <a:gd name="connsiteX4" fmla="*/ 3557626 w 3571914"/>
              <a:gd name="connsiteY4" fmla="*/ 3683543 h 3697831"/>
              <a:gd name="connsiteX5" fmla="*/ 697095 w 3571914"/>
              <a:gd name="connsiteY5" fmla="*/ 3697831 h 3697831"/>
              <a:gd name="connsiteX6" fmla="*/ 342939 w 3571914"/>
              <a:gd name="connsiteY6" fmla="*/ 1989680 h 3697831"/>
              <a:gd name="connsiteX7" fmla="*/ 39 w 3571914"/>
              <a:gd name="connsiteY7" fmla="*/ 960981 h 3697831"/>
              <a:gd name="connsiteX8" fmla="*/ 394441 w 3571914"/>
              <a:gd name="connsiteY8" fmla="*/ 325490 h 3697831"/>
              <a:gd name="connsiteX0" fmla="*/ 394444 w 3571917"/>
              <a:gd name="connsiteY0" fmla="*/ 325490 h 3697831"/>
              <a:gd name="connsiteX1" fmla="*/ 1028809 w 3571917"/>
              <a:gd name="connsiteY1" fmla="*/ 40946 h 3697831"/>
              <a:gd name="connsiteX2" fmla="*/ 2188846 w 3571917"/>
              <a:gd name="connsiteY2" fmla="*/ 173692 h 3697831"/>
              <a:gd name="connsiteX3" fmla="*/ 3571917 w 3571917"/>
              <a:gd name="connsiteY3" fmla="*/ 932407 h 3697831"/>
              <a:gd name="connsiteX4" fmla="*/ 3557629 w 3571917"/>
              <a:gd name="connsiteY4" fmla="*/ 3683543 h 3697831"/>
              <a:gd name="connsiteX5" fmla="*/ 697098 w 3571917"/>
              <a:gd name="connsiteY5" fmla="*/ 3697831 h 3697831"/>
              <a:gd name="connsiteX6" fmla="*/ 342942 w 3571917"/>
              <a:gd name="connsiteY6" fmla="*/ 1989680 h 3697831"/>
              <a:gd name="connsiteX7" fmla="*/ 42 w 3571917"/>
              <a:gd name="connsiteY7" fmla="*/ 960981 h 3697831"/>
              <a:gd name="connsiteX8" fmla="*/ 394444 w 3571917"/>
              <a:gd name="connsiteY8" fmla="*/ 325490 h 3697831"/>
              <a:gd name="connsiteX0" fmla="*/ 394444 w 3571917"/>
              <a:gd name="connsiteY0" fmla="*/ 325490 h 3697831"/>
              <a:gd name="connsiteX1" fmla="*/ 1028809 w 3571917"/>
              <a:gd name="connsiteY1" fmla="*/ 40946 h 3697831"/>
              <a:gd name="connsiteX2" fmla="*/ 2188846 w 3571917"/>
              <a:gd name="connsiteY2" fmla="*/ 173692 h 3697831"/>
              <a:gd name="connsiteX3" fmla="*/ 3571917 w 3571917"/>
              <a:gd name="connsiteY3" fmla="*/ 932407 h 3697831"/>
              <a:gd name="connsiteX4" fmla="*/ 3557629 w 3571917"/>
              <a:gd name="connsiteY4" fmla="*/ 3683543 h 3697831"/>
              <a:gd name="connsiteX5" fmla="*/ 697098 w 3571917"/>
              <a:gd name="connsiteY5" fmla="*/ 3697831 h 3697831"/>
              <a:gd name="connsiteX6" fmla="*/ 342942 w 3571917"/>
              <a:gd name="connsiteY6" fmla="*/ 1989680 h 3697831"/>
              <a:gd name="connsiteX7" fmla="*/ 42 w 3571917"/>
              <a:gd name="connsiteY7" fmla="*/ 960981 h 3697831"/>
              <a:gd name="connsiteX8" fmla="*/ 394444 w 3571917"/>
              <a:gd name="connsiteY8" fmla="*/ 325490 h 3697831"/>
              <a:gd name="connsiteX0" fmla="*/ 394444 w 3571917"/>
              <a:gd name="connsiteY0" fmla="*/ 325490 h 3697831"/>
              <a:gd name="connsiteX1" fmla="*/ 1028809 w 3571917"/>
              <a:gd name="connsiteY1" fmla="*/ 40946 h 3697831"/>
              <a:gd name="connsiteX2" fmla="*/ 2188846 w 3571917"/>
              <a:gd name="connsiteY2" fmla="*/ 173692 h 3697831"/>
              <a:gd name="connsiteX3" fmla="*/ 3571917 w 3571917"/>
              <a:gd name="connsiteY3" fmla="*/ 932407 h 3697831"/>
              <a:gd name="connsiteX4" fmla="*/ 3415961 w 3571917"/>
              <a:gd name="connsiteY4" fmla="*/ 3537582 h 3697831"/>
              <a:gd name="connsiteX5" fmla="*/ 697098 w 3571917"/>
              <a:gd name="connsiteY5" fmla="*/ 3697831 h 3697831"/>
              <a:gd name="connsiteX6" fmla="*/ 342942 w 3571917"/>
              <a:gd name="connsiteY6" fmla="*/ 1989680 h 3697831"/>
              <a:gd name="connsiteX7" fmla="*/ 42 w 3571917"/>
              <a:gd name="connsiteY7" fmla="*/ 960981 h 3697831"/>
              <a:gd name="connsiteX8" fmla="*/ 394444 w 3571917"/>
              <a:gd name="connsiteY8" fmla="*/ 325490 h 3697831"/>
              <a:gd name="connsiteX0" fmla="*/ 394444 w 3571917"/>
              <a:gd name="connsiteY0" fmla="*/ 325490 h 3697831"/>
              <a:gd name="connsiteX1" fmla="*/ 1028809 w 3571917"/>
              <a:gd name="connsiteY1" fmla="*/ 40946 h 3697831"/>
              <a:gd name="connsiteX2" fmla="*/ 2188846 w 3571917"/>
              <a:gd name="connsiteY2" fmla="*/ 173692 h 3697831"/>
              <a:gd name="connsiteX3" fmla="*/ 3571917 w 3571917"/>
              <a:gd name="connsiteY3" fmla="*/ 932407 h 3697831"/>
              <a:gd name="connsiteX4" fmla="*/ 3553336 w 3571917"/>
              <a:gd name="connsiteY4" fmla="*/ 3679250 h 3697831"/>
              <a:gd name="connsiteX5" fmla="*/ 697098 w 3571917"/>
              <a:gd name="connsiteY5" fmla="*/ 3697831 h 3697831"/>
              <a:gd name="connsiteX6" fmla="*/ 342942 w 3571917"/>
              <a:gd name="connsiteY6" fmla="*/ 1989680 h 3697831"/>
              <a:gd name="connsiteX7" fmla="*/ 42 w 3571917"/>
              <a:gd name="connsiteY7" fmla="*/ 960981 h 3697831"/>
              <a:gd name="connsiteX8" fmla="*/ 394444 w 3571917"/>
              <a:gd name="connsiteY8" fmla="*/ 325490 h 3697831"/>
              <a:gd name="connsiteX0" fmla="*/ 394444 w 3553936"/>
              <a:gd name="connsiteY0" fmla="*/ 325490 h 3697831"/>
              <a:gd name="connsiteX1" fmla="*/ 1028809 w 3553936"/>
              <a:gd name="connsiteY1" fmla="*/ 40946 h 3697831"/>
              <a:gd name="connsiteX2" fmla="*/ 2188846 w 3553936"/>
              <a:gd name="connsiteY2" fmla="*/ 173692 h 3697831"/>
              <a:gd name="connsiteX3" fmla="*/ 3537573 w 3553936"/>
              <a:gd name="connsiteY3" fmla="*/ 820790 h 3697831"/>
              <a:gd name="connsiteX4" fmla="*/ 3553336 w 3553936"/>
              <a:gd name="connsiteY4" fmla="*/ 3679250 h 3697831"/>
              <a:gd name="connsiteX5" fmla="*/ 697098 w 3553936"/>
              <a:gd name="connsiteY5" fmla="*/ 3697831 h 3697831"/>
              <a:gd name="connsiteX6" fmla="*/ 342942 w 3553936"/>
              <a:gd name="connsiteY6" fmla="*/ 1989680 h 3697831"/>
              <a:gd name="connsiteX7" fmla="*/ 42 w 3553936"/>
              <a:gd name="connsiteY7" fmla="*/ 960981 h 3697831"/>
              <a:gd name="connsiteX8" fmla="*/ 394444 w 3553936"/>
              <a:gd name="connsiteY8" fmla="*/ 325490 h 3697831"/>
              <a:gd name="connsiteX0" fmla="*/ 394444 w 3554896"/>
              <a:gd name="connsiteY0" fmla="*/ 325490 h 3697831"/>
              <a:gd name="connsiteX1" fmla="*/ 1028809 w 3554896"/>
              <a:gd name="connsiteY1" fmla="*/ 40946 h 3697831"/>
              <a:gd name="connsiteX2" fmla="*/ 2188846 w 3554896"/>
              <a:gd name="connsiteY2" fmla="*/ 173692 h 3697831"/>
              <a:gd name="connsiteX3" fmla="*/ 3554745 w 3554896"/>
              <a:gd name="connsiteY3" fmla="*/ 915235 h 3697831"/>
              <a:gd name="connsiteX4" fmla="*/ 3553336 w 3554896"/>
              <a:gd name="connsiteY4" fmla="*/ 3679250 h 3697831"/>
              <a:gd name="connsiteX5" fmla="*/ 697098 w 3554896"/>
              <a:gd name="connsiteY5" fmla="*/ 3697831 h 3697831"/>
              <a:gd name="connsiteX6" fmla="*/ 342942 w 3554896"/>
              <a:gd name="connsiteY6" fmla="*/ 1989680 h 3697831"/>
              <a:gd name="connsiteX7" fmla="*/ 42 w 3554896"/>
              <a:gd name="connsiteY7" fmla="*/ 960981 h 3697831"/>
              <a:gd name="connsiteX8" fmla="*/ 394444 w 3554896"/>
              <a:gd name="connsiteY8" fmla="*/ 325490 h 3697831"/>
              <a:gd name="connsiteX0" fmla="*/ 394444 w 3554896"/>
              <a:gd name="connsiteY0" fmla="*/ 325490 h 3697831"/>
              <a:gd name="connsiteX1" fmla="*/ 1028809 w 3554896"/>
              <a:gd name="connsiteY1" fmla="*/ 40946 h 3697831"/>
              <a:gd name="connsiteX2" fmla="*/ 2188846 w 3554896"/>
              <a:gd name="connsiteY2" fmla="*/ 173692 h 3697831"/>
              <a:gd name="connsiteX3" fmla="*/ 3554745 w 3554896"/>
              <a:gd name="connsiteY3" fmla="*/ 915235 h 3697831"/>
              <a:gd name="connsiteX4" fmla="*/ 3553336 w 3554896"/>
              <a:gd name="connsiteY4" fmla="*/ 3679250 h 3697831"/>
              <a:gd name="connsiteX5" fmla="*/ 697098 w 3554896"/>
              <a:gd name="connsiteY5" fmla="*/ 3697831 h 3697831"/>
              <a:gd name="connsiteX6" fmla="*/ 342942 w 3554896"/>
              <a:gd name="connsiteY6" fmla="*/ 1989680 h 3697831"/>
              <a:gd name="connsiteX7" fmla="*/ 42 w 3554896"/>
              <a:gd name="connsiteY7" fmla="*/ 960981 h 3697831"/>
              <a:gd name="connsiteX8" fmla="*/ 394444 w 3554896"/>
              <a:gd name="connsiteY8" fmla="*/ 325490 h 3697831"/>
              <a:gd name="connsiteX0" fmla="*/ 394444 w 3554896"/>
              <a:gd name="connsiteY0" fmla="*/ 325490 h 3697831"/>
              <a:gd name="connsiteX1" fmla="*/ 1028809 w 3554896"/>
              <a:gd name="connsiteY1" fmla="*/ 40946 h 3697831"/>
              <a:gd name="connsiteX2" fmla="*/ 2188846 w 3554896"/>
              <a:gd name="connsiteY2" fmla="*/ 173692 h 3697831"/>
              <a:gd name="connsiteX3" fmla="*/ 3554745 w 3554896"/>
              <a:gd name="connsiteY3" fmla="*/ 915235 h 3697831"/>
              <a:gd name="connsiteX4" fmla="*/ 3553336 w 3554896"/>
              <a:gd name="connsiteY4" fmla="*/ 3679250 h 3697831"/>
              <a:gd name="connsiteX5" fmla="*/ 697098 w 3554896"/>
              <a:gd name="connsiteY5" fmla="*/ 3697831 h 3697831"/>
              <a:gd name="connsiteX6" fmla="*/ 342942 w 3554896"/>
              <a:gd name="connsiteY6" fmla="*/ 1989680 h 3697831"/>
              <a:gd name="connsiteX7" fmla="*/ 42 w 3554896"/>
              <a:gd name="connsiteY7" fmla="*/ 960981 h 3697831"/>
              <a:gd name="connsiteX8" fmla="*/ 394444 w 3554896"/>
              <a:gd name="connsiteY8" fmla="*/ 325490 h 3697831"/>
              <a:gd name="connsiteX0" fmla="*/ 394444 w 3557709"/>
              <a:gd name="connsiteY0" fmla="*/ 325490 h 3697831"/>
              <a:gd name="connsiteX1" fmla="*/ 1028809 w 3557709"/>
              <a:gd name="connsiteY1" fmla="*/ 40946 h 3697831"/>
              <a:gd name="connsiteX2" fmla="*/ 2188846 w 3557709"/>
              <a:gd name="connsiteY2" fmla="*/ 173692 h 3697831"/>
              <a:gd name="connsiteX3" fmla="*/ 3554745 w 3557709"/>
              <a:gd name="connsiteY3" fmla="*/ 915235 h 3697831"/>
              <a:gd name="connsiteX4" fmla="*/ 3556511 w 3557709"/>
              <a:gd name="connsiteY4" fmla="*/ 3688775 h 3697831"/>
              <a:gd name="connsiteX5" fmla="*/ 697098 w 3557709"/>
              <a:gd name="connsiteY5" fmla="*/ 3697831 h 3697831"/>
              <a:gd name="connsiteX6" fmla="*/ 342942 w 3557709"/>
              <a:gd name="connsiteY6" fmla="*/ 1989680 h 3697831"/>
              <a:gd name="connsiteX7" fmla="*/ 42 w 3557709"/>
              <a:gd name="connsiteY7" fmla="*/ 960981 h 3697831"/>
              <a:gd name="connsiteX8" fmla="*/ 394444 w 3557709"/>
              <a:gd name="connsiteY8" fmla="*/ 325490 h 3697831"/>
              <a:gd name="connsiteX0" fmla="*/ 394444 w 3564270"/>
              <a:gd name="connsiteY0" fmla="*/ 325490 h 3697831"/>
              <a:gd name="connsiteX1" fmla="*/ 1028809 w 3564270"/>
              <a:gd name="connsiteY1" fmla="*/ 40946 h 3697831"/>
              <a:gd name="connsiteX2" fmla="*/ 2188846 w 3564270"/>
              <a:gd name="connsiteY2" fmla="*/ 173692 h 3697831"/>
              <a:gd name="connsiteX3" fmla="*/ 3564270 w 3564270"/>
              <a:gd name="connsiteY3" fmla="*/ 918410 h 3697831"/>
              <a:gd name="connsiteX4" fmla="*/ 3556511 w 3564270"/>
              <a:gd name="connsiteY4" fmla="*/ 3688775 h 3697831"/>
              <a:gd name="connsiteX5" fmla="*/ 697098 w 3564270"/>
              <a:gd name="connsiteY5" fmla="*/ 3697831 h 3697831"/>
              <a:gd name="connsiteX6" fmla="*/ 342942 w 3564270"/>
              <a:gd name="connsiteY6" fmla="*/ 1989680 h 3697831"/>
              <a:gd name="connsiteX7" fmla="*/ 42 w 3564270"/>
              <a:gd name="connsiteY7" fmla="*/ 960981 h 3697831"/>
              <a:gd name="connsiteX8" fmla="*/ 394444 w 3564270"/>
              <a:gd name="connsiteY8" fmla="*/ 325490 h 3697831"/>
              <a:gd name="connsiteX0" fmla="*/ 394444 w 3564270"/>
              <a:gd name="connsiteY0" fmla="*/ 325490 h 3697831"/>
              <a:gd name="connsiteX1" fmla="*/ 1028809 w 3564270"/>
              <a:gd name="connsiteY1" fmla="*/ 40946 h 3697831"/>
              <a:gd name="connsiteX2" fmla="*/ 2188846 w 3564270"/>
              <a:gd name="connsiteY2" fmla="*/ 173692 h 3697831"/>
              <a:gd name="connsiteX3" fmla="*/ 3564270 w 3564270"/>
              <a:gd name="connsiteY3" fmla="*/ 918410 h 3697831"/>
              <a:gd name="connsiteX4" fmla="*/ 3556511 w 3564270"/>
              <a:gd name="connsiteY4" fmla="*/ 3688775 h 3697831"/>
              <a:gd name="connsiteX5" fmla="*/ 697098 w 3564270"/>
              <a:gd name="connsiteY5" fmla="*/ 3697831 h 3697831"/>
              <a:gd name="connsiteX6" fmla="*/ 342942 w 3564270"/>
              <a:gd name="connsiteY6" fmla="*/ 1989680 h 3697831"/>
              <a:gd name="connsiteX7" fmla="*/ 42 w 3564270"/>
              <a:gd name="connsiteY7" fmla="*/ 960981 h 3697831"/>
              <a:gd name="connsiteX8" fmla="*/ 394444 w 3564270"/>
              <a:gd name="connsiteY8" fmla="*/ 325490 h 3697831"/>
              <a:gd name="connsiteX0" fmla="*/ 394444 w 3564270"/>
              <a:gd name="connsiteY0" fmla="*/ 328278 h 3700619"/>
              <a:gd name="connsiteX1" fmla="*/ 1028809 w 3564270"/>
              <a:gd name="connsiteY1" fmla="*/ 43734 h 3700619"/>
              <a:gd name="connsiteX2" fmla="*/ 2188846 w 3564270"/>
              <a:gd name="connsiteY2" fmla="*/ 176480 h 3700619"/>
              <a:gd name="connsiteX3" fmla="*/ 3564270 w 3564270"/>
              <a:gd name="connsiteY3" fmla="*/ 921198 h 3700619"/>
              <a:gd name="connsiteX4" fmla="*/ 3556511 w 3564270"/>
              <a:gd name="connsiteY4" fmla="*/ 3691563 h 3700619"/>
              <a:gd name="connsiteX5" fmla="*/ 697098 w 3564270"/>
              <a:gd name="connsiteY5" fmla="*/ 3700619 h 3700619"/>
              <a:gd name="connsiteX6" fmla="*/ 342942 w 3564270"/>
              <a:gd name="connsiteY6" fmla="*/ 1992468 h 3700619"/>
              <a:gd name="connsiteX7" fmla="*/ 42 w 3564270"/>
              <a:gd name="connsiteY7" fmla="*/ 963769 h 3700619"/>
              <a:gd name="connsiteX8" fmla="*/ 394444 w 3564270"/>
              <a:gd name="connsiteY8" fmla="*/ 328278 h 370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64270" h="3700619">
                <a:moveTo>
                  <a:pt x="394444" y="328278"/>
                </a:moveTo>
                <a:cubicBezTo>
                  <a:pt x="657415" y="117520"/>
                  <a:pt x="820619" y="99393"/>
                  <a:pt x="1028809" y="43734"/>
                </a:cubicBezTo>
                <a:cubicBezTo>
                  <a:pt x="1397140" y="-12995"/>
                  <a:pt x="1800736" y="-52366"/>
                  <a:pt x="2188846" y="176480"/>
                </a:cubicBezTo>
                <a:cubicBezTo>
                  <a:pt x="3304411" y="1046609"/>
                  <a:pt x="3249364" y="856042"/>
                  <a:pt x="3564270" y="921198"/>
                </a:cubicBezTo>
                <a:cubicBezTo>
                  <a:pt x="3559507" y="1838243"/>
                  <a:pt x="3561274" y="2774518"/>
                  <a:pt x="3556511" y="3691563"/>
                </a:cubicBezTo>
                <a:lnTo>
                  <a:pt x="697098" y="3700619"/>
                </a:lnTo>
                <a:cubicBezTo>
                  <a:pt x="99404" y="3484984"/>
                  <a:pt x="393952" y="2489157"/>
                  <a:pt x="342942" y="1992468"/>
                </a:cubicBezTo>
                <a:cubicBezTo>
                  <a:pt x="313396" y="1573051"/>
                  <a:pt x="-4215" y="1363819"/>
                  <a:pt x="42" y="963769"/>
                </a:cubicBezTo>
                <a:cubicBezTo>
                  <a:pt x="-968" y="639919"/>
                  <a:pt x="262372" y="450359"/>
                  <a:pt x="394444" y="328278"/>
                </a:cubicBezTo>
                <a:close/>
              </a:path>
            </a:pathLst>
          </a:custGeom>
          <a:solidFill>
            <a:schemeClr val="bg2"/>
          </a:solidFill>
        </p:spPr>
        <p:txBody>
          <a:bodyPr anchor="ctr"/>
          <a:lstStyle>
            <a:lvl1pPr marL="0" indent="0" algn="ctr">
              <a:buNone/>
              <a:defRPr sz="2133">
                <a:solidFill>
                  <a:schemeClr val="tx2"/>
                </a:solidFill>
                <a:latin typeface="Crank 8 Plus Two" panose="02000506030000020004" pitchFamily="50" charset="0"/>
              </a:defRPr>
            </a:lvl1pPr>
          </a:lstStyle>
          <a:p>
            <a:r>
              <a:rPr lang="nl-NL" dirty="0"/>
              <a:t>Klik op het pictogram als u een afbeelding wilt toevoegen</a:t>
            </a:r>
            <a:endParaRPr dirty="0"/>
          </a:p>
        </p:txBody>
      </p:sp>
      <p:sp>
        <p:nvSpPr>
          <p:cNvPr id="10" name="Text Placeholder 22">
            <a:extLst>
              <a:ext uri="{FF2B5EF4-FFF2-40B4-BE49-F238E27FC236}">
                <a16:creationId xmlns:a16="http://schemas.microsoft.com/office/drawing/2014/main" id="{410CF6F5-63A5-954B-A0B7-932D8AF8442F}"/>
              </a:ext>
            </a:extLst>
          </p:cNvPr>
          <p:cNvSpPr>
            <a:spLocks noGrp="1"/>
          </p:cNvSpPr>
          <p:nvPr>
            <p:ph type="body" sz="quarter" idx="12" hasCustomPrompt="1"/>
          </p:nvPr>
        </p:nvSpPr>
        <p:spPr>
          <a:xfrm>
            <a:off x="5913067" y="1618400"/>
            <a:ext cx="5755733" cy="4588384"/>
          </a:xfrm>
          <a:prstGeom prst="rect">
            <a:avLst/>
          </a:prstGeom>
        </p:spPr>
        <p:txBody>
          <a:bodyPr/>
          <a:lstStyle>
            <a:lvl1pPr marL="190495" indent="-190495" algn="l">
              <a:buClr>
                <a:schemeClr val="accent1"/>
              </a:buClr>
              <a:buFont typeface="Arial" panose="020B0604020202020204" pitchFamily="34" charset="0"/>
              <a:buChar char="•"/>
              <a:defRPr sz="1867" b="0">
                <a:solidFill>
                  <a:schemeClr val="tx2"/>
                </a:solidFill>
                <a:latin typeface="+mn-lt"/>
                <a:ea typeface="Roboto" panose="02000000000000000000" pitchFamily="2" charset="0"/>
              </a:defRPr>
            </a:lvl1pPr>
          </a:lstStyle>
          <a:p>
            <a:pPr lvl="0"/>
            <a:r>
              <a:rPr lang="en-US" dirty="0"/>
              <a:t>Click to add text</a:t>
            </a:r>
          </a:p>
          <a:p>
            <a:pPr lvl="0"/>
            <a:endParaRPr lang="en-US" dirty="0"/>
          </a:p>
        </p:txBody>
      </p:sp>
      <p:grpSp>
        <p:nvGrpSpPr>
          <p:cNvPr id="17" name="Graphic 6">
            <a:extLst>
              <a:ext uri="{FF2B5EF4-FFF2-40B4-BE49-F238E27FC236}">
                <a16:creationId xmlns:a16="http://schemas.microsoft.com/office/drawing/2014/main" id="{E6778465-ED0E-4479-BE4A-AB34D7692B44}"/>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46F53880-6B76-4BE6-87CB-2BC3B76FC25C}"/>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0482CCCF-97B0-448F-A912-B39436D54689}"/>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9" name="Title 10">
            <a:extLst>
              <a:ext uri="{FF2B5EF4-FFF2-40B4-BE49-F238E27FC236}">
                <a16:creationId xmlns:a16="http://schemas.microsoft.com/office/drawing/2014/main" id="{81245553-97D0-408C-A262-B7D3EC89E770}"/>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ekst</a:t>
            </a:r>
            <a:r>
              <a:rPr lang="en-GB" noProof="0" dirty="0"/>
              <a:t> + </a:t>
            </a:r>
            <a:r>
              <a:rPr lang="en-GB" noProof="0" dirty="0" err="1"/>
              <a:t>foto</a:t>
            </a:r>
            <a:endParaRPr lang="en-GB" noProof="0" dirty="0"/>
          </a:p>
        </p:txBody>
      </p:sp>
    </p:spTree>
    <p:extLst>
      <p:ext uri="{BB962C8B-B14F-4D97-AF65-F5344CB8AC3E}">
        <p14:creationId xmlns:p14="http://schemas.microsoft.com/office/powerpoint/2010/main" val="97167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pic>
        <p:nvPicPr>
          <p:cNvPr id="9" name="Picture Placeholder 7">
            <a:extLst>
              <a:ext uri="{FF2B5EF4-FFF2-40B4-BE49-F238E27FC236}">
                <a16:creationId xmlns:a16="http://schemas.microsoft.com/office/drawing/2014/main" id="{9360415F-126E-3C47-A34C-D4298A20314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9984" y="0"/>
            <a:ext cx="3962400" cy="7106483"/>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51" y="1247554"/>
            <a:ext cx="49966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4" y="3169753"/>
            <a:ext cx="4995333"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grpSp>
        <p:nvGrpSpPr>
          <p:cNvPr id="18" name="Graphic 6">
            <a:extLst>
              <a:ext uri="{FF2B5EF4-FFF2-40B4-BE49-F238E27FC236}">
                <a16:creationId xmlns:a16="http://schemas.microsoft.com/office/drawing/2014/main" id="{E337BB5D-F1EF-4CD5-B72C-C5B7BB02D027}"/>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B52F314D-7DA1-4DF6-BA62-729BBF152863}"/>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577CF0A7-C6A7-4923-B13E-60164FE10D6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94388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51" y="1247554"/>
            <a:ext cx="49966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4" y="3169753"/>
            <a:ext cx="4995333"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AA24FE53-8C51-4CC6-9E87-14047E40139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6422"/>
          <a:stretch/>
        </p:blipFill>
        <p:spPr>
          <a:xfrm>
            <a:off x="335360" y="0"/>
            <a:ext cx="4118456" cy="6858000"/>
          </a:xfrm>
          <a:prstGeom prst="rect">
            <a:avLst/>
          </a:prstGeom>
        </p:spPr>
      </p:pic>
      <p:grpSp>
        <p:nvGrpSpPr>
          <p:cNvPr id="18" name="Graphic 6">
            <a:extLst>
              <a:ext uri="{FF2B5EF4-FFF2-40B4-BE49-F238E27FC236}">
                <a16:creationId xmlns:a16="http://schemas.microsoft.com/office/drawing/2014/main" id="{9412D7F7-907A-41FF-BCEB-F92F1B273B1C}"/>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46332CE8-5E51-4C5C-8AC0-C71633A8895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ED9B9936-0700-403D-8008-B348FD18FCC3}"/>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47356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51" y="1247554"/>
            <a:ext cx="49966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4" y="3169753"/>
            <a:ext cx="4995333"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DB82BC42-F173-4F8C-8C72-AC95ABBF88D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444" r="-607"/>
          <a:stretch/>
        </p:blipFill>
        <p:spPr>
          <a:xfrm>
            <a:off x="-1" y="932723"/>
            <a:ext cx="5519937" cy="5925277"/>
          </a:xfrm>
          <a:prstGeom prst="rect">
            <a:avLst/>
          </a:prstGeom>
        </p:spPr>
      </p:pic>
      <p:grpSp>
        <p:nvGrpSpPr>
          <p:cNvPr id="12" name="Graphic 6">
            <a:extLst>
              <a:ext uri="{FF2B5EF4-FFF2-40B4-BE49-F238E27FC236}">
                <a16:creationId xmlns:a16="http://schemas.microsoft.com/office/drawing/2014/main" id="{02EA2127-0BB0-43F6-8D28-F82927B7F3DB}"/>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3" name="Freeform: Shape 12">
              <a:extLst>
                <a:ext uri="{FF2B5EF4-FFF2-40B4-BE49-F238E27FC236}">
                  <a16:creationId xmlns:a16="http://schemas.microsoft.com/office/drawing/2014/main" id="{EA262CD2-3793-4FD1-8C85-7C3708A42A3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4" name="Freeform: Shape 13">
              <a:extLst>
                <a:ext uri="{FF2B5EF4-FFF2-40B4-BE49-F238E27FC236}">
                  <a16:creationId xmlns:a16="http://schemas.microsoft.com/office/drawing/2014/main" id="{9B778F74-BFE4-4504-ACF8-CFC807DC20CC}"/>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750997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51" y="1247554"/>
            <a:ext cx="49966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4" y="3169753"/>
            <a:ext cx="4995333"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189E2546-991C-412D-8F88-8838A60A1E5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946" t="20280" r="35922" b="27249"/>
          <a:stretch/>
        </p:blipFill>
        <p:spPr>
          <a:xfrm>
            <a:off x="1" y="0"/>
            <a:ext cx="4664151" cy="6858000"/>
          </a:xfrm>
          <a:prstGeom prst="rect">
            <a:avLst/>
          </a:prstGeom>
        </p:spPr>
      </p:pic>
      <p:grpSp>
        <p:nvGrpSpPr>
          <p:cNvPr id="12" name="Graphic 6">
            <a:extLst>
              <a:ext uri="{FF2B5EF4-FFF2-40B4-BE49-F238E27FC236}">
                <a16:creationId xmlns:a16="http://schemas.microsoft.com/office/drawing/2014/main" id="{63C377F5-A86D-40F2-9F39-1E88BFA1FC7A}"/>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3" name="Freeform: Shape 12">
              <a:extLst>
                <a:ext uri="{FF2B5EF4-FFF2-40B4-BE49-F238E27FC236}">
                  <a16:creationId xmlns:a16="http://schemas.microsoft.com/office/drawing/2014/main" id="{41B1E955-73F7-4E66-8A6A-B734F8A4DCF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4" name="Freeform: Shape 13">
              <a:extLst>
                <a:ext uri="{FF2B5EF4-FFF2-40B4-BE49-F238E27FC236}">
                  <a16:creationId xmlns:a16="http://schemas.microsoft.com/office/drawing/2014/main" id="{7CA0DBFE-5B30-4408-93A1-675AB70BEFA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919424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51" y="1247554"/>
            <a:ext cx="49966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4" y="3169753"/>
            <a:ext cx="4995333"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E4087AE2-08FE-42F5-A4FD-6C55B4AFF01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6457" r="11813"/>
          <a:stretch/>
        </p:blipFill>
        <p:spPr>
          <a:xfrm>
            <a:off x="1" y="452671"/>
            <a:ext cx="5041899" cy="6405331"/>
          </a:xfrm>
          <a:prstGeom prst="rect">
            <a:avLst/>
          </a:prstGeom>
        </p:spPr>
      </p:pic>
      <p:grpSp>
        <p:nvGrpSpPr>
          <p:cNvPr id="12" name="Graphic 6">
            <a:extLst>
              <a:ext uri="{FF2B5EF4-FFF2-40B4-BE49-F238E27FC236}">
                <a16:creationId xmlns:a16="http://schemas.microsoft.com/office/drawing/2014/main" id="{C41AAC85-6558-40D9-B4DC-545E30BCDB71}"/>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3" name="Freeform: Shape 12">
              <a:extLst>
                <a:ext uri="{FF2B5EF4-FFF2-40B4-BE49-F238E27FC236}">
                  <a16:creationId xmlns:a16="http://schemas.microsoft.com/office/drawing/2014/main" id="{89CD2A4F-80CE-4CC2-BAB2-5F50614DDFB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4" name="Freeform: Shape 13">
              <a:extLst>
                <a:ext uri="{FF2B5EF4-FFF2-40B4-BE49-F238E27FC236}">
                  <a16:creationId xmlns:a16="http://schemas.microsoft.com/office/drawing/2014/main" id="{9395B1C4-01E0-4787-9E11-01FCD82ECBF4}"/>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54405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49" y="1247554"/>
            <a:ext cx="4996800"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3" y="3169753"/>
            <a:ext cx="4996800"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C5942EF0-9A98-45E0-AC54-8E11E8C7C117}"/>
              </a:ext>
            </a:extLst>
          </p:cNvPr>
          <p:cNvPicPr>
            <a:picLocks noChangeAspect="1"/>
          </p:cNvPicPr>
          <p:nvPr userDrawn="1"/>
        </p:nvPicPr>
        <p:blipFill rotWithShape="1">
          <a:blip r:embed="rId3">
            <a:extLst>
              <a:ext uri="{28A0092B-C50C-407E-A947-70E740481C1C}">
                <a14:useLocalDpi xmlns:a14="http://schemas.microsoft.com/office/drawing/2010/main"/>
              </a:ext>
            </a:extLst>
          </a:blip>
          <a:srcRect l="59272" b="20260"/>
          <a:stretch/>
        </p:blipFill>
        <p:spPr>
          <a:xfrm>
            <a:off x="1" y="17332"/>
            <a:ext cx="5240895" cy="6840669"/>
          </a:xfrm>
          <a:prstGeom prst="rect">
            <a:avLst/>
          </a:prstGeom>
        </p:spPr>
      </p:pic>
      <p:grpSp>
        <p:nvGrpSpPr>
          <p:cNvPr id="9" name="Graphic 6">
            <a:extLst>
              <a:ext uri="{FF2B5EF4-FFF2-40B4-BE49-F238E27FC236}">
                <a16:creationId xmlns:a16="http://schemas.microsoft.com/office/drawing/2014/main" id="{AA4B22AC-48F5-4582-9E53-774E1184EE7E}"/>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0" name="Freeform: Shape 9">
              <a:extLst>
                <a:ext uri="{FF2B5EF4-FFF2-40B4-BE49-F238E27FC236}">
                  <a16:creationId xmlns:a16="http://schemas.microsoft.com/office/drawing/2014/main" id="{45CD1680-3AB2-4D1A-84EE-666548D32AD1}"/>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169D825A-C1E3-47DC-BB97-CCD48DC47047}"/>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44206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49" y="1247554"/>
            <a:ext cx="4996800"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3" y="3169753"/>
            <a:ext cx="4996800"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FE649E1F-2F27-410B-9DCD-511C29DF151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1479" r="21479" b="9860"/>
          <a:stretch/>
        </p:blipFill>
        <p:spPr>
          <a:xfrm>
            <a:off x="0" y="-4049"/>
            <a:ext cx="5795072" cy="6862049"/>
          </a:xfrm>
          <a:prstGeom prst="rect">
            <a:avLst/>
          </a:prstGeom>
        </p:spPr>
      </p:pic>
      <p:grpSp>
        <p:nvGrpSpPr>
          <p:cNvPr id="9" name="Graphic 6">
            <a:extLst>
              <a:ext uri="{FF2B5EF4-FFF2-40B4-BE49-F238E27FC236}">
                <a16:creationId xmlns:a16="http://schemas.microsoft.com/office/drawing/2014/main" id="{2BB37398-05DD-435C-9C66-3193D84D5EE5}"/>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0" name="Freeform: Shape 9">
              <a:extLst>
                <a:ext uri="{FF2B5EF4-FFF2-40B4-BE49-F238E27FC236}">
                  <a16:creationId xmlns:a16="http://schemas.microsoft.com/office/drawing/2014/main" id="{220656AB-BBD5-44AA-BDA3-AA20E5CCCF6C}"/>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7681D061-7B9C-452B-B685-880A5845875D}"/>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63693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49" y="1247554"/>
            <a:ext cx="4996800"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3" y="3169753"/>
            <a:ext cx="4996800"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96D8C011-92B0-4349-9A92-6114740A9CC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6032" t="2509"/>
          <a:stretch/>
        </p:blipFill>
        <p:spPr>
          <a:xfrm>
            <a:off x="-1" y="-1"/>
            <a:ext cx="7811825" cy="6871564"/>
          </a:xfrm>
          <a:prstGeom prst="rect">
            <a:avLst/>
          </a:prstGeom>
        </p:spPr>
      </p:pic>
      <p:grpSp>
        <p:nvGrpSpPr>
          <p:cNvPr id="9" name="Graphic 6">
            <a:extLst>
              <a:ext uri="{FF2B5EF4-FFF2-40B4-BE49-F238E27FC236}">
                <a16:creationId xmlns:a16="http://schemas.microsoft.com/office/drawing/2014/main" id="{79854BB5-2B0A-44C9-A8A6-F7F4A3759E4E}"/>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0" name="Freeform: Shape 9">
              <a:extLst>
                <a:ext uri="{FF2B5EF4-FFF2-40B4-BE49-F238E27FC236}">
                  <a16:creationId xmlns:a16="http://schemas.microsoft.com/office/drawing/2014/main" id="{97069E30-2C13-43C6-933C-4A1ABE0D69E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86181156-D167-46FA-B7AD-5DA939C28E1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9463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49" y="1247554"/>
            <a:ext cx="4996800"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3" y="3169753"/>
            <a:ext cx="4996800"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descr="A picture containing person, holding, indoor, woman&#10;&#10;Description generated with very high confidence">
            <a:extLst>
              <a:ext uri="{FF2B5EF4-FFF2-40B4-BE49-F238E27FC236}">
                <a16:creationId xmlns:a16="http://schemas.microsoft.com/office/drawing/2014/main" id="{581D727B-6B80-427C-AC3A-B0573B92C3C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4331"/>
          <a:stretch/>
        </p:blipFill>
        <p:spPr>
          <a:xfrm>
            <a:off x="774096" y="515044"/>
            <a:ext cx="3987747" cy="6342957"/>
          </a:xfrm>
          <a:prstGeom prst="rect">
            <a:avLst/>
          </a:prstGeom>
        </p:spPr>
      </p:pic>
      <p:grpSp>
        <p:nvGrpSpPr>
          <p:cNvPr id="9" name="Graphic 6">
            <a:extLst>
              <a:ext uri="{FF2B5EF4-FFF2-40B4-BE49-F238E27FC236}">
                <a16:creationId xmlns:a16="http://schemas.microsoft.com/office/drawing/2014/main" id="{6CD13C37-C04E-4721-B06C-4A7D3521E6AA}"/>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0" name="Freeform: Shape 9">
              <a:extLst>
                <a:ext uri="{FF2B5EF4-FFF2-40B4-BE49-F238E27FC236}">
                  <a16:creationId xmlns:a16="http://schemas.microsoft.com/office/drawing/2014/main" id="{4F5682C4-1D74-4525-AD43-E1FB854B8C02}"/>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080BA1E4-424D-466C-B125-861F9A34622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1286426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F5B58B55-7681-4A07-98FC-6E946B94A362}"/>
              </a:ext>
            </a:extLst>
          </p:cNvPr>
          <p:cNvSpPr/>
          <p:nvPr userDrawn="1"/>
        </p:nvSpPr>
        <p:spPr bwMode="auto">
          <a:xfrm>
            <a:off x="4852587" y="4389120"/>
            <a:ext cx="7339413" cy="2468880"/>
          </a:xfrm>
          <a:custGeom>
            <a:avLst/>
            <a:gdLst>
              <a:gd name="connsiteX0" fmla="*/ 5504560 w 5504560"/>
              <a:gd name="connsiteY0" fmla="*/ 0 h 1851660"/>
              <a:gd name="connsiteX1" fmla="*/ 5504560 w 5504560"/>
              <a:gd name="connsiteY1" fmla="*/ 1851660 h 1851660"/>
              <a:gd name="connsiteX2" fmla="*/ 0 w 5504560"/>
              <a:gd name="connsiteY2" fmla="*/ 1851660 h 1851660"/>
              <a:gd name="connsiteX3" fmla="*/ 79121 w 5504560"/>
              <a:gd name="connsiteY3" fmla="*/ 1790700 h 1851660"/>
              <a:gd name="connsiteX4" fmla="*/ 1168780 w 5504560"/>
              <a:gd name="connsiteY4" fmla="*/ 937260 h 1851660"/>
              <a:gd name="connsiteX5" fmla="*/ 1625980 w 5504560"/>
              <a:gd name="connsiteY5" fmla="*/ 685800 h 1851660"/>
              <a:gd name="connsiteX6" fmla="*/ 2113660 w 5504560"/>
              <a:gd name="connsiteY6" fmla="*/ 563880 h 1851660"/>
              <a:gd name="connsiteX7" fmla="*/ 2548000 w 5504560"/>
              <a:gd name="connsiteY7" fmla="*/ 571500 h 1851660"/>
              <a:gd name="connsiteX8" fmla="*/ 3043300 w 5504560"/>
              <a:gd name="connsiteY8" fmla="*/ 624840 h 1851660"/>
              <a:gd name="connsiteX9" fmla="*/ 3492880 w 5504560"/>
              <a:gd name="connsiteY9" fmla="*/ 655320 h 1851660"/>
              <a:gd name="connsiteX10" fmla="*/ 3988180 w 5504560"/>
              <a:gd name="connsiteY10" fmla="*/ 609600 h 1851660"/>
              <a:gd name="connsiteX11" fmla="*/ 4597780 w 5504560"/>
              <a:gd name="connsiteY11" fmla="*/ 449580 h 1851660"/>
              <a:gd name="connsiteX12" fmla="*/ 5131180 w 5504560"/>
              <a:gd name="connsiteY12" fmla="*/ 220980 h 1851660"/>
              <a:gd name="connsiteX13" fmla="*/ 5504560 w 5504560"/>
              <a:gd name="connsiteY13" fmla="*/ 0 h 185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04560" h="1851660">
                <a:moveTo>
                  <a:pt x="5504560" y="0"/>
                </a:moveTo>
                <a:lnTo>
                  <a:pt x="5504560" y="1851660"/>
                </a:lnTo>
                <a:lnTo>
                  <a:pt x="0" y="1851660"/>
                </a:lnTo>
                <a:lnTo>
                  <a:pt x="79121" y="1790700"/>
                </a:lnTo>
                <a:cubicBezTo>
                  <a:pt x="397891" y="1502410"/>
                  <a:pt x="910970" y="1121410"/>
                  <a:pt x="1168780" y="937260"/>
                </a:cubicBezTo>
                <a:cubicBezTo>
                  <a:pt x="1426590" y="753110"/>
                  <a:pt x="1468500" y="748030"/>
                  <a:pt x="1625980" y="685800"/>
                </a:cubicBezTo>
                <a:cubicBezTo>
                  <a:pt x="1783460" y="623570"/>
                  <a:pt x="1959990" y="582930"/>
                  <a:pt x="2113660" y="563880"/>
                </a:cubicBezTo>
                <a:cubicBezTo>
                  <a:pt x="2267330" y="544830"/>
                  <a:pt x="2393060" y="561340"/>
                  <a:pt x="2548000" y="571500"/>
                </a:cubicBezTo>
                <a:cubicBezTo>
                  <a:pt x="2702940" y="581660"/>
                  <a:pt x="2885820" y="610870"/>
                  <a:pt x="3043300" y="624840"/>
                </a:cubicBezTo>
                <a:cubicBezTo>
                  <a:pt x="3200780" y="638810"/>
                  <a:pt x="3335400" y="657860"/>
                  <a:pt x="3492880" y="655320"/>
                </a:cubicBezTo>
                <a:cubicBezTo>
                  <a:pt x="3650360" y="652780"/>
                  <a:pt x="3804030" y="643890"/>
                  <a:pt x="3988180" y="609600"/>
                </a:cubicBezTo>
                <a:cubicBezTo>
                  <a:pt x="4172330" y="575310"/>
                  <a:pt x="4407280" y="514350"/>
                  <a:pt x="4597780" y="449580"/>
                </a:cubicBezTo>
                <a:cubicBezTo>
                  <a:pt x="4788280" y="384810"/>
                  <a:pt x="4980050" y="295910"/>
                  <a:pt x="5131180" y="220980"/>
                </a:cubicBezTo>
                <a:cubicBezTo>
                  <a:pt x="5282310" y="146050"/>
                  <a:pt x="5401690" y="58420"/>
                  <a:pt x="5504560" y="0"/>
                </a:cubicBezTo>
                <a:close/>
              </a:path>
            </a:pathLst>
          </a:custGeom>
          <a:solidFill>
            <a:schemeClr val="accent3"/>
          </a:solidFill>
          <a:ln>
            <a:noFill/>
          </a:ln>
          <a:effectLst/>
        </p:spPr>
        <p:txBody>
          <a:bodyPr rtlCol="0" anchor="ctr"/>
          <a:lstStyle/>
          <a:p>
            <a:pPr algn="ctr"/>
            <a:endParaRPr lang="nl-BE" sz="2400"/>
          </a:p>
        </p:txBody>
      </p:sp>
      <p:sp>
        <p:nvSpPr>
          <p:cNvPr id="25" name="Freeform: Shape 24">
            <a:extLst>
              <a:ext uri="{FF2B5EF4-FFF2-40B4-BE49-F238E27FC236}">
                <a16:creationId xmlns:a16="http://schemas.microsoft.com/office/drawing/2014/main" id="{E32D6128-2C4E-4683-8C62-030C3DE9052C}"/>
              </a:ext>
            </a:extLst>
          </p:cNvPr>
          <p:cNvSpPr/>
          <p:nvPr userDrawn="1"/>
        </p:nvSpPr>
        <p:spPr bwMode="auto">
          <a:xfrm>
            <a:off x="0" y="3433146"/>
            <a:ext cx="11856640" cy="3424855"/>
          </a:xfrm>
          <a:custGeom>
            <a:avLst/>
            <a:gdLst>
              <a:gd name="connsiteX0" fmla="*/ 2087562 w 7104791"/>
              <a:gd name="connsiteY0" fmla="*/ 65 h 2568641"/>
              <a:gd name="connsiteX1" fmla="*/ 2279649 w 7104791"/>
              <a:gd name="connsiteY1" fmla="*/ 9590 h 2568641"/>
              <a:gd name="connsiteX2" fmla="*/ 2559050 w 7104791"/>
              <a:gd name="connsiteY2" fmla="*/ 73090 h 2568641"/>
              <a:gd name="connsiteX3" fmla="*/ 2825750 w 7104791"/>
              <a:gd name="connsiteY3" fmla="*/ 200090 h 2568641"/>
              <a:gd name="connsiteX4" fmla="*/ 3035299 w 7104791"/>
              <a:gd name="connsiteY4" fmla="*/ 384240 h 2568641"/>
              <a:gd name="connsiteX5" fmla="*/ 3340099 w 7104791"/>
              <a:gd name="connsiteY5" fmla="*/ 809690 h 2568641"/>
              <a:gd name="connsiteX6" fmla="*/ 3759199 w 7104791"/>
              <a:gd name="connsiteY6" fmla="*/ 1273240 h 2568641"/>
              <a:gd name="connsiteX7" fmla="*/ 4337049 w 7104791"/>
              <a:gd name="connsiteY7" fmla="*/ 1711390 h 2568641"/>
              <a:gd name="connsiteX8" fmla="*/ 5029199 w 7104791"/>
              <a:gd name="connsiteY8" fmla="*/ 2028890 h 2568641"/>
              <a:gd name="connsiteX9" fmla="*/ 5975349 w 7104791"/>
              <a:gd name="connsiteY9" fmla="*/ 2282890 h 2568641"/>
              <a:gd name="connsiteX10" fmla="*/ 6597649 w 7104791"/>
              <a:gd name="connsiteY10" fmla="*/ 2422590 h 2568641"/>
              <a:gd name="connsiteX11" fmla="*/ 7088485 w 7104791"/>
              <a:gd name="connsiteY11" fmla="*/ 2563233 h 2568641"/>
              <a:gd name="connsiteX12" fmla="*/ 7104791 w 7104791"/>
              <a:gd name="connsiteY12" fmla="*/ 2568641 h 2568641"/>
              <a:gd name="connsiteX13" fmla="*/ 0 w 7104791"/>
              <a:gd name="connsiteY13" fmla="*/ 2568641 h 2568641"/>
              <a:gd name="connsiteX14" fmla="*/ 0 w 7104791"/>
              <a:gd name="connsiteY14" fmla="*/ 1152589 h 2568641"/>
              <a:gd name="connsiteX15" fmla="*/ 34552 w 7104791"/>
              <a:gd name="connsiteY15" fmla="*/ 1112816 h 2568641"/>
              <a:gd name="connsiteX16" fmla="*/ 400049 w 7104791"/>
              <a:gd name="connsiteY16" fmla="*/ 746190 h 2568641"/>
              <a:gd name="connsiteX17" fmla="*/ 749299 w 7104791"/>
              <a:gd name="connsiteY17" fmla="*/ 460440 h 2568641"/>
              <a:gd name="connsiteX18" fmla="*/ 1079499 w 7104791"/>
              <a:gd name="connsiteY18" fmla="*/ 269940 h 2568641"/>
              <a:gd name="connsiteX19" fmla="*/ 1473199 w 7104791"/>
              <a:gd name="connsiteY19" fmla="*/ 98490 h 2568641"/>
              <a:gd name="connsiteX20" fmla="*/ 1879599 w 7104791"/>
              <a:gd name="connsiteY20" fmla="*/ 9590 h 2568641"/>
              <a:gd name="connsiteX21" fmla="*/ 2087562 w 7104791"/>
              <a:gd name="connsiteY21" fmla="*/ 65 h 2568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104791" h="2568641">
                <a:moveTo>
                  <a:pt x="2087562" y="65"/>
                </a:moveTo>
                <a:cubicBezTo>
                  <a:pt x="2156618" y="594"/>
                  <a:pt x="2223029" y="4299"/>
                  <a:pt x="2279649" y="9590"/>
                </a:cubicBezTo>
                <a:cubicBezTo>
                  <a:pt x="2392892" y="20173"/>
                  <a:pt x="2468032" y="41340"/>
                  <a:pt x="2559050" y="73090"/>
                </a:cubicBezTo>
                <a:cubicBezTo>
                  <a:pt x="2650067" y="104840"/>
                  <a:pt x="2746374" y="148232"/>
                  <a:pt x="2825750" y="200090"/>
                </a:cubicBezTo>
                <a:cubicBezTo>
                  <a:pt x="2905125" y="251948"/>
                  <a:pt x="2949575" y="282640"/>
                  <a:pt x="3035299" y="384240"/>
                </a:cubicBezTo>
                <a:cubicBezTo>
                  <a:pt x="3121024" y="485840"/>
                  <a:pt x="3219449" y="661523"/>
                  <a:pt x="3340099" y="809690"/>
                </a:cubicBezTo>
                <a:cubicBezTo>
                  <a:pt x="3460749" y="957857"/>
                  <a:pt x="3593041" y="1122957"/>
                  <a:pt x="3759199" y="1273240"/>
                </a:cubicBezTo>
                <a:cubicBezTo>
                  <a:pt x="3925357" y="1423523"/>
                  <a:pt x="4125382" y="1585448"/>
                  <a:pt x="4337049" y="1711390"/>
                </a:cubicBezTo>
                <a:cubicBezTo>
                  <a:pt x="4548716" y="1837332"/>
                  <a:pt x="4756149" y="1933640"/>
                  <a:pt x="5029199" y="2028890"/>
                </a:cubicBezTo>
                <a:cubicBezTo>
                  <a:pt x="5302249" y="2124140"/>
                  <a:pt x="5713941" y="2217273"/>
                  <a:pt x="5975349" y="2282890"/>
                </a:cubicBezTo>
                <a:cubicBezTo>
                  <a:pt x="6236757" y="2348507"/>
                  <a:pt x="6380691" y="2365440"/>
                  <a:pt x="6597649" y="2422590"/>
                </a:cubicBezTo>
                <a:cubicBezTo>
                  <a:pt x="6760368" y="2465453"/>
                  <a:pt x="6910585" y="2506529"/>
                  <a:pt x="7088485" y="2563233"/>
                </a:cubicBezTo>
                <a:lnTo>
                  <a:pt x="7104791" y="2568641"/>
                </a:lnTo>
                <a:lnTo>
                  <a:pt x="0" y="2568641"/>
                </a:lnTo>
                <a:lnTo>
                  <a:pt x="0" y="1152589"/>
                </a:lnTo>
                <a:lnTo>
                  <a:pt x="34552" y="1112816"/>
                </a:lnTo>
                <a:cubicBezTo>
                  <a:pt x="126404" y="1010459"/>
                  <a:pt x="290777" y="847128"/>
                  <a:pt x="400049" y="746190"/>
                </a:cubicBezTo>
                <a:cubicBezTo>
                  <a:pt x="524932" y="630832"/>
                  <a:pt x="636057" y="539815"/>
                  <a:pt x="749299" y="460440"/>
                </a:cubicBezTo>
                <a:cubicBezTo>
                  <a:pt x="862541" y="381065"/>
                  <a:pt x="958849" y="330265"/>
                  <a:pt x="1079499" y="269940"/>
                </a:cubicBezTo>
                <a:cubicBezTo>
                  <a:pt x="1200149" y="209615"/>
                  <a:pt x="1339849" y="141882"/>
                  <a:pt x="1473199" y="98490"/>
                </a:cubicBezTo>
                <a:cubicBezTo>
                  <a:pt x="1606549" y="55098"/>
                  <a:pt x="1745191" y="24407"/>
                  <a:pt x="1879599" y="9590"/>
                </a:cubicBezTo>
                <a:cubicBezTo>
                  <a:pt x="1946803" y="2182"/>
                  <a:pt x="2018505" y="-464"/>
                  <a:pt x="2087562" y="65"/>
                </a:cubicBezTo>
                <a:close/>
              </a:path>
            </a:pathLst>
          </a:custGeom>
          <a:solidFill>
            <a:schemeClr val="accent1"/>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20" name="Title 2">
            <a:extLst>
              <a:ext uri="{FF2B5EF4-FFF2-40B4-BE49-F238E27FC236}">
                <a16:creationId xmlns:a16="http://schemas.microsoft.com/office/drawing/2014/main" id="{6826FA4B-EC2D-434F-8767-CA29F30D3709}"/>
              </a:ext>
            </a:extLst>
          </p:cNvPr>
          <p:cNvSpPr>
            <a:spLocks noGrp="1"/>
          </p:cNvSpPr>
          <p:nvPr>
            <p:ph type="title" hasCustomPrompt="1"/>
          </p:nvPr>
        </p:nvSpPr>
        <p:spPr>
          <a:xfrm>
            <a:off x="6055403" y="1772907"/>
            <a:ext cx="5613400" cy="1591999"/>
          </a:xfrm>
          <a:prstGeom prst="rect">
            <a:avLst/>
          </a:prstGeom>
        </p:spPr>
        <p:txBody>
          <a:bodyPr lIns="90000" rIns="90000"/>
          <a:lstStyle>
            <a:lvl1pPr algn="r">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22" name="Text Placeholder 14">
            <a:extLst>
              <a:ext uri="{FF2B5EF4-FFF2-40B4-BE49-F238E27FC236}">
                <a16:creationId xmlns:a16="http://schemas.microsoft.com/office/drawing/2014/main" id="{B2F27242-155F-432B-9151-1F1FD60CD401}"/>
              </a:ext>
            </a:extLst>
          </p:cNvPr>
          <p:cNvSpPr>
            <a:spLocks noGrp="1"/>
          </p:cNvSpPr>
          <p:nvPr>
            <p:ph type="body" sz="quarter" idx="10" hasCustomPrompt="1"/>
          </p:nvPr>
        </p:nvSpPr>
        <p:spPr>
          <a:xfrm>
            <a:off x="6056838" y="3364906"/>
            <a:ext cx="5611965" cy="1024201"/>
          </a:xfrm>
          <a:prstGeom prst="rect">
            <a:avLst/>
          </a:prstGeom>
        </p:spPr>
        <p:txBody>
          <a:bodyPr lIns="90000" rIns="90000"/>
          <a:lstStyle>
            <a:lvl1pPr marL="0" indent="0" algn="r">
              <a:buNone/>
              <a:defRPr sz="186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nl-BE" dirty="0"/>
              <a:t>Click to add text</a:t>
            </a:r>
            <a:endParaRPr dirty="0"/>
          </a:p>
        </p:txBody>
      </p:sp>
      <p:pic>
        <p:nvPicPr>
          <p:cNvPr id="3" name="Picture 2" descr="A person posing for the camera&#10;&#10;Description generated with very high confidence">
            <a:extLst>
              <a:ext uri="{FF2B5EF4-FFF2-40B4-BE49-F238E27FC236}">
                <a16:creationId xmlns:a16="http://schemas.microsoft.com/office/drawing/2014/main" id="{B0B79E04-A416-419F-B32F-C09161081F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9296" y="1700808"/>
            <a:ext cx="2230533" cy="4760909"/>
          </a:xfrm>
          <a:prstGeom prst="rect">
            <a:avLst/>
          </a:prstGeom>
        </p:spPr>
      </p:pic>
      <p:grpSp>
        <p:nvGrpSpPr>
          <p:cNvPr id="15" name="Graphic 6">
            <a:extLst>
              <a:ext uri="{FF2B5EF4-FFF2-40B4-BE49-F238E27FC236}">
                <a16:creationId xmlns:a16="http://schemas.microsoft.com/office/drawing/2014/main" id="{8FB5BEE0-DED4-49B4-905C-F362FC736F39}"/>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6" name="Freeform: Shape 15">
              <a:extLst>
                <a:ext uri="{FF2B5EF4-FFF2-40B4-BE49-F238E27FC236}">
                  <a16:creationId xmlns:a16="http://schemas.microsoft.com/office/drawing/2014/main" id="{33A94E10-FC24-4B06-9620-0CAB609113C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EA0A15D1-C623-4A80-BF40-AA8A949A929D}"/>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50974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EBF710-DB72-B244-8A98-9E34AE771B2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946400"/>
            <a:ext cx="12192000" cy="3911600"/>
          </a:xfrm>
          <a:prstGeom prst="rect">
            <a:avLst/>
          </a:prstGeom>
        </p:spPr>
      </p:pic>
      <p:sp>
        <p:nvSpPr>
          <p:cNvPr id="11" name="Title 2">
            <a:extLst>
              <a:ext uri="{FF2B5EF4-FFF2-40B4-BE49-F238E27FC236}">
                <a16:creationId xmlns:a16="http://schemas.microsoft.com/office/drawing/2014/main" id="{28ACD17C-C1B3-7843-8158-5288DB492E4B}"/>
              </a:ext>
            </a:extLst>
          </p:cNvPr>
          <p:cNvSpPr>
            <a:spLocks noGrp="1"/>
          </p:cNvSpPr>
          <p:nvPr>
            <p:ph type="title" hasCustomPrompt="1"/>
          </p:nvPr>
        </p:nvSpPr>
        <p:spPr>
          <a:xfrm>
            <a:off x="4664149" y="1247554"/>
            <a:ext cx="4996800"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15" name="Text Placeholder 14">
            <a:extLst>
              <a:ext uri="{FF2B5EF4-FFF2-40B4-BE49-F238E27FC236}">
                <a16:creationId xmlns:a16="http://schemas.microsoft.com/office/drawing/2014/main" id="{4D3C24CD-94E9-B547-A14D-45116218EA9A}"/>
              </a:ext>
            </a:extLst>
          </p:cNvPr>
          <p:cNvSpPr>
            <a:spLocks noGrp="1"/>
          </p:cNvSpPr>
          <p:nvPr>
            <p:ph type="body" sz="quarter" idx="10" hasCustomPrompt="1"/>
          </p:nvPr>
        </p:nvSpPr>
        <p:spPr>
          <a:xfrm>
            <a:off x="4665133" y="3169753"/>
            <a:ext cx="4996800"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pic>
        <p:nvPicPr>
          <p:cNvPr id="7" name="Picture 6">
            <a:extLst>
              <a:ext uri="{FF2B5EF4-FFF2-40B4-BE49-F238E27FC236}">
                <a16:creationId xmlns:a16="http://schemas.microsoft.com/office/drawing/2014/main" id="{294E9D2E-73EC-44A6-AF70-ADD94997151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3103"/>
          <a:stretch/>
        </p:blipFill>
        <p:spPr>
          <a:xfrm flipH="1">
            <a:off x="-1" y="687543"/>
            <a:ext cx="4519457" cy="5482916"/>
          </a:xfrm>
          <a:prstGeom prst="rect">
            <a:avLst/>
          </a:prstGeom>
        </p:spPr>
      </p:pic>
      <p:grpSp>
        <p:nvGrpSpPr>
          <p:cNvPr id="9" name="Graphic 6">
            <a:extLst>
              <a:ext uri="{FF2B5EF4-FFF2-40B4-BE49-F238E27FC236}">
                <a16:creationId xmlns:a16="http://schemas.microsoft.com/office/drawing/2014/main" id="{59A1248D-01DA-4D4B-A912-8A653BA5A3F3}"/>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0" name="Freeform: Shape 9">
              <a:extLst>
                <a:ext uri="{FF2B5EF4-FFF2-40B4-BE49-F238E27FC236}">
                  <a16:creationId xmlns:a16="http://schemas.microsoft.com/office/drawing/2014/main" id="{93F0B603-696E-4B54-BDBA-DB401E40CEBE}"/>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B7F63EA8-EB75-4353-980D-BA3B776461D4}"/>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412343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text slide">
    <p:spTree>
      <p:nvGrpSpPr>
        <p:cNvPr id="1" name=""/>
        <p:cNvGrpSpPr/>
        <p:nvPr/>
      </p:nvGrpSpPr>
      <p:grpSpPr>
        <a:xfrm>
          <a:off x="0" y="0"/>
          <a:ext cx="0" cy="0"/>
          <a:chOff x="0" y="0"/>
          <a:chExt cx="0" cy="0"/>
        </a:xfrm>
      </p:grpSpPr>
      <p:sp>
        <p:nvSpPr>
          <p:cNvPr id="7" name="Rectangle 10">
            <a:extLst>
              <a:ext uri="{FF2B5EF4-FFF2-40B4-BE49-F238E27FC236}">
                <a16:creationId xmlns:a16="http://schemas.microsoft.com/office/drawing/2014/main" id="{5EC0EB59-522B-45AD-AF1B-3E42EA5C329C}"/>
              </a:ext>
            </a:extLst>
          </p:cNvPr>
          <p:cNvSpPr/>
          <p:nvPr userDrawn="1"/>
        </p:nvSpPr>
        <p:spPr bwMode="auto">
          <a:xfrm>
            <a:off x="0" y="1016001"/>
            <a:ext cx="12192000" cy="5841999"/>
          </a:xfrm>
          <a:custGeom>
            <a:avLst/>
            <a:gdLst>
              <a:gd name="connsiteX0" fmla="*/ 0 w 9144000"/>
              <a:gd name="connsiteY0" fmla="*/ 0 h 4381499"/>
              <a:gd name="connsiteX1" fmla="*/ 9144000 w 9144000"/>
              <a:gd name="connsiteY1" fmla="*/ 0 h 4381499"/>
              <a:gd name="connsiteX2" fmla="*/ 9144000 w 9144000"/>
              <a:gd name="connsiteY2" fmla="*/ 4381499 h 4381499"/>
              <a:gd name="connsiteX3" fmla="*/ 0 w 9144000"/>
              <a:gd name="connsiteY3" fmla="*/ 4381499 h 4381499"/>
              <a:gd name="connsiteX4" fmla="*/ 0 w 9144000"/>
              <a:gd name="connsiteY4" fmla="*/ 0 h 4381499"/>
              <a:gd name="connsiteX0" fmla="*/ 0 w 9144000"/>
              <a:gd name="connsiteY0" fmla="*/ 6350 h 4387849"/>
              <a:gd name="connsiteX1" fmla="*/ 5194300 w 9144000"/>
              <a:gd name="connsiteY1" fmla="*/ 0 h 4387849"/>
              <a:gd name="connsiteX2" fmla="*/ 9144000 w 9144000"/>
              <a:gd name="connsiteY2" fmla="*/ 6350 h 4387849"/>
              <a:gd name="connsiteX3" fmla="*/ 9144000 w 9144000"/>
              <a:gd name="connsiteY3" fmla="*/ 4387849 h 4387849"/>
              <a:gd name="connsiteX4" fmla="*/ 0 w 9144000"/>
              <a:gd name="connsiteY4" fmla="*/ 4387849 h 4387849"/>
              <a:gd name="connsiteX5" fmla="*/ 0 w 9144000"/>
              <a:gd name="connsiteY5" fmla="*/ 6350 h 4387849"/>
              <a:gd name="connsiteX0" fmla="*/ 0 w 9144000"/>
              <a:gd name="connsiteY0" fmla="*/ 0 h 4381499"/>
              <a:gd name="connsiteX1" fmla="*/ 5238750 w 9144000"/>
              <a:gd name="connsiteY1" fmla="*/ 171450 h 4381499"/>
              <a:gd name="connsiteX2" fmla="*/ 9144000 w 9144000"/>
              <a:gd name="connsiteY2" fmla="*/ 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35417 h 4416916"/>
              <a:gd name="connsiteX1" fmla="*/ 5238750 w 9144000"/>
              <a:gd name="connsiteY1" fmla="*/ 206867 h 4416916"/>
              <a:gd name="connsiteX2" fmla="*/ 9144000 w 9144000"/>
              <a:gd name="connsiteY2" fmla="*/ 3541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35417 h 4416916"/>
              <a:gd name="connsiteX3" fmla="*/ 9144000 w 9144000"/>
              <a:gd name="connsiteY3" fmla="*/ 854567 h 4416916"/>
              <a:gd name="connsiteX4" fmla="*/ 9144000 w 9144000"/>
              <a:gd name="connsiteY4" fmla="*/ 4416916 h 4416916"/>
              <a:gd name="connsiteX5" fmla="*/ 0 w 9144000"/>
              <a:gd name="connsiteY5" fmla="*/ 4416916 h 4416916"/>
              <a:gd name="connsiteX6" fmla="*/ 0 w 9144000"/>
              <a:gd name="connsiteY6"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4381499">
                <a:moveTo>
                  <a:pt x="0" y="0"/>
                </a:moveTo>
                <a:cubicBezTo>
                  <a:pt x="1073150" y="819150"/>
                  <a:pt x="4362450" y="-311150"/>
                  <a:pt x="5238750" y="171450"/>
                </a:cubicBezTo>
                <a:cubicBezTo>
                  <a:pt x="6819900" y="863600"/>
                  <a:pt x="7861300" y="838200"/>
                  <a:pt x="9144000" y="819150"/>
                </a:cubicBezTo>
                <a:lnTo>
                  <a:pt x="9144000" y="4381499"/>
                </a:lnTo>
                <a:lnTo>
                  <a:pt x="0" y="4381499"/>
                </a:lnTo>
                <a:lnTo>
                  <a:pt x="0" y="0"/>
                </a:ln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grpSp>
        <p:nvGrpSpPr>
          <p:cNvPr id="8" name="Group 7">
            <a:extLst>
              <a:ext uri="{FF2B5EF4-FFF2-40B4-BE49-F238E27FC236}">
                <a16:creationId xmlns:a16="http://schemas.microsoft.com/office/drawing/2014/main" id="{71D2AE4B-A5E1-4DA4-AE99-06D7CDD2C780}"/>
              </a:ext>
            </a:extLst>
          </p:cNvPr>
          <p:cNvGrpSpPr/>
          <p:nvPr userDrawn="1"/>
        </p:nvGrpSpPr>
        <p:grpSpPr>
          <a:xfrm>
            <a:off x="0" y="0"/>
            <a:ext cx="12192000" cy="5356800"/>
            <a:chOff x="0" y="0"/>
            <a:chExt cx="9144000" cy="4017600"/>
          </a:xfrm>
        </p:grpSpPr>
        <p:sp>
          <p:nvSpPr>
            <p:cNvPr id="9" name="Freeform: Shape 8">
              <a:extLst>
                <a:ext uri="{FF2B5EF4-FFF2-40B4-BE49-F238E27FC236}">
                  <a16:creationId xmlns:a16="http://schemas.microsoft.com/office/drawing/2014/main" id="{F727A746-29A8-4D2B-A4DD-0524382F0E11}"/>
                </a:ext>
              </a:extLst>
            </p:cNvPr>
            <p:cNvSpPr/>
            <p:nvPr userDrawn="1"/>
          </p:nvSpPr>
          <p:spPr bwMode="auto">
            <a:xfrm>
              <a:off x="5245354" y="0"/>
              <a:ext cx="3898646" cy="4017600"/>
            </a:xfrm>
            <a:custGeom>
              <a:avLst/>
              <a:gdLst>
                <a:gd name="connsiteX0" fmla="*/ 3898646 w 3898646"/>
                <a:gd name="connsiteY0" fmla="*/ 0 h 4017600"/>
                <a:gd name="connsiteX1" fmla="*/ 3898646 w 3898646"/>
                <a:gd name="connsiteY1" fmla="*/ 4017600 h 4017600"/>
                <a:gd name="connsiteX2" fmla="*/ 3898643 w 3898646"/>
                <a:gd name="connsiteY2" fmla="*/ 4017600 h 4017600"/>
                <a:gd name="connsiteX3" fmla="*/ 3698403 w 3898646"/>
                <a:gd name="connsiteY3" fmla="*/ 3902150 h 4017600"/>
                <a:gd name="connsiteX4" fmla="*/ 2387345 w 3898646"/>
                <a:gd name="connsiteY4" fmla="*/ 3187701 h 4017600"/>
                <a:gd name="connsiteX5" fmla="*/ 1136395 w 3898646"/>
                <a:gd name="connsiteY5" fmla="*/ 2413001 h 4017600"/>
                <a:gd name="connsiteX6" fmla="*/ 70510 w 3898646"/>
                <a:gd name="connsiteY6" fmla="*/ 1072692 h 4017600"/>
                <a:gd name="connsiteX7" fmla="*/ 0 w 3898646"/>
                <a:gd name="connsiteY7" fmla="*/ 933808 h 4017600"/>
                <a:gd name="connsiteX8" fmla="*/ 350757 w 3898646"/>
                <a:gd name="connsiteY8" fmla="*/ 1076011 h 4017600"/>
                <a:gd name="connsiteX9" fmla="*/ 3501008 w 3898646"/>
                <a:gd name="connsiteY9" fmla="*/ 1592943 h 4017600"/>
                <a:gd name="connsiteX10" fmla="*/ 3898645 w 3898646"/>
                <a:gd name="connsiteY10" fmla="*/ 1585912 h 4017600"/>
                <a:gd name="connsiteX11" fmla="*/ 3898646 w 3898646"/>
                <a:gd name="connsiteY11" fmla="*/ 0 h 40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8646" h="4017600">
                  <a:moveTo>
                    <a:pt x="3898646" y="0"/>
                  </a:moveTo>
                  <a:lnTo>
                    <a:pt x="3898646" y="4017600"/>
                  </a:lnTo>
                  <a:lnTo>
                    <a:pt x="3898643" y="4017600"/>
                  </a:lnTo>
                  <a:lnTo>
                    <a:pt x="3698403" y="3902150"/>
                  </a:lnTo>
                  <a:cubicBezTo>
                    <a:pt x="3249027" y="3646050"/>
                    <a:pt x="2910558" y="3473564"/>
                    <a:pt x="2387345" y="3187701"/>
                  </a:cubicBezTo>
                  <a:cubicBezTo>
                    <a:pt x="1936495" y="2933701"/>
                    <a:pt x="1741184" y="2880205"/>
                    <a:pt x="1136395" y="2413001"/>
                  </a:cubicBezTo>
                  <a:cubicBezTo>
                    <a:pt x="803635" y="2155941"/>
                    <a:pt x="389991" y="1648872"/>
                    <a:pt x="70510" y="1072692"/>
                  </a:cubicBezTo>
                  <a:lnTo>
                    <a:pt x="0" y="933808"/>
                  </a:lnTo>
                  <a:lnTo>
                    <a:pt x="350757" y="1076011"/>
                  </a:lnTo>
                  <a:cubicBezTo>
                    <a:pt x="1179822" y="1404936"/>
                    <a:pt x="1865187" y="1600790"/>
                    <a:pt x="3501008" y="1592943"/>
                  </a:cubicBezTo>
                  <a:lnTo>
                    <a:pt x="3898645" y="1585912"/>
                  </a:lnTo>
                  <a:cubicBezTo>
                    <a:pt x="3898645" y="1057275"/>
                    <a:pt x="3898646" y="528637"/>
                    <a:pt x="3898646" y="0"/>
                  </a:cubicBezTo>
                  <a:close/>
                </a:path>
              </a:pathLst>
            </a:custGeom>
            <a:solidFill>
              <a:schemeClr val="accent5"/>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10" name="Freeform: Shape 9">
              <a:extLst>
                <a:ext uri="{FF2B5EF4-FFF2-40B4-BE49-F238E27FC236}">
                  <a16:creationId xmlns:a16="http://schemas.microsoft.com/office/drawing/2014/main" id="{3FB47A35-6FFE-4C6E-8622-7A0334149F77}"/>
                </a:ext>
              </a:extLst>
            </p:cNvPr>
            <p:cNvSpPr/>
            <p:nvPr userDrawn="1"/>
          </p:nvSpPr>
          <p:spPr bwMode="auto">
            <a:xfrm>
              <a:off x="0" y="1"/>
              <a:ext cx="5245354" cy="1079731"/>
            </a:xfrm>
            <a:custGeom>
              <a:avLst/>
              <a:gdLst>
                <a:gd name="connsiteX0" fmla="*/ 0 w 5292080"/>
                <a:gd name="connsiteY0" fmla="*/ 0 h 1079731"/>
                <a:gd name="connsiteX1" fmla="*/ 4751512 w 5292080"/>
                <a:gd name="connsiteY1" fmla="*/ 0 h 1079731"/>
                <a:gd name="connsiteX2" fmla="*/ 4751512 w 5292080"/>
                <a:gd name="connsiteY2" fmla="*/ 2 h 1079731"/>
                <a:gd name="connsiteX3" fmla="*/ 4880305 w 5292080"/>
                <a:gd name="connsiteY3" fmla="*/ 2 h 1079731"/>
                <a:gd name="connsiteX4" fmla="*/ 5136875 w 5292080"/>
                <a:gd name="connsiteY4" fmla="*/ 720138 h 1079731"/>
                <a:gd name="connsiteX5" fmla="*/ 5245354 w 5292080"/>
                <a:gd name="connsiteY5" fmla="*/ 933808 h 1079731"/>
                <a:gd name="connsiteX6" fmla="*/ 5292080 w 5292080"/>
                <a:gd name="connsiteY6" fmla="*/ 952751 h 1079731"/>
                <a:gd name="connsiteX7" fmla="*/ 5292080 w 5292080"/>
                <a:gd name="connsiteY7" fmla="*/ 952751 h 1079731"/>
                <a:gd name="connsiteX8" fmla="*/ 5228810 w 5292080"/>
                <a:gd name="connsiteY8" fmla="*/ 927101 h 1079731"/>
                <a:gd name="connsiteX9" fmla="*/ 0 w 5292080"/>
                <a:gd name="connsiteY9" fmla="*/ 774700 h 1079731"/>
                <a:gd name="connsiteX0" fmla="*/ 0 w 5292080"/>
                <a:gd name="connsiteY0" fmla="*/ 0 h 1079731"/>
                <a:gd name="connsiteX1" fmla="*/ 4751512 w 5292080"/>
                <a:gd name="connsiteY1" fmla="*/ 0 h 1079731"/>
                <a:gd name="connsiteX2" fmla="*/ 4751512 w 5292080"/>
                <a:gd name="connsiteY2" fmla="*/ 2 h 1079731"/>
                <a:gd name="connsiteX3" fmla="*/ 4880305 w 5292080"/>
                <a:gd name="connsiteY3" fmla="*/ 2 h 1079731"/>
                <a:gd name="connsiteX4" fmla="*/ 5136875 w 5292080"/>
                <a:gd name="connsiteY4" fmla="*/ 720138 h 1079731"/>
                <a:gd name="connsiteX5" fmla="*/ 5245354 w 5292080"/>
                <a:gd name="connsiteY5" fmla="*/ 933808 h 1079731"/>
                <a:gd name="connsiteX6" fmla="*/ 5292080 w 5292080"/>
                <a:gd name="connsiteY6" fmla="*/ 952751 h 1079731"/>
                <a:gd name="connsiteX7" fmla="*/ 5228810 w 5292080"/>
                <a:gd name="connsiteY7" fmla="*/ 927101 h 1079731"/>
                <a:gd name="connsiteX8" fmla="*/ 0 w 5292080"/>
                <a:gd name="connsiteY8" fmla="*/ 774700 h 1079731"/>
                <a:gd name="connsiteX9" fmla="*/ 0 w 5292080"/>
                <a:gd name="connsiteY9" fmla="*/ 0 h 1079731"/>
                <a:gd name="connsiteX0" fmla="*/ 0 w 5245354"/>
                <a:gd name="connsiteY0" fmla="*/ 0 h 1079731"/>
                <a:gd name="connsiteX1" fmla="*/ 4751512 w 5245354"/>
                <a:gd name="connsiteY1" fmla="*/ 0 h 1079731"/>
                <a:gd name="connsiteX2" fmla="*/ 4751512 w 5245354"/>
                <a:gd name="connsiteY2" fmla="*/ 2 h 1079731"/>
                <a:gd name="connsiteX3" fmla="*/ 4880305 w 5245354"/>
                <a:gd name="connsiteY3" fmla="*/ 2 h 1079731"/>
                <a:gd name="connsiteX4" fmla="*/ 5136875 w 5245354"/>
                <a:gd name="connsiteY4" fmla="*/ 720138 h 1079731"/>
                <a:gd name="connsiteX5" fmla="*/ 5245354 w 5245354"/>
                <a:gd name="connsiteY5" fmla="*/ 933808 h 1079731"/>
                <a:gd name="connsiteX6" fmla="*/ 5228810 w 5245354"/>
                <a:gd name="connsiteY6" fmla="*/ 927101 h 1079731"/>
                <a:gd name="connsiteX7" fmla="*/ 0 w 5245354"/>
                <a:gd name="connsiteY7" fmla="*/ 774700 h 1079731"/>
                <a:gd name="connsiteX8" fmla="*/ 0 w 5245354"/>
                <a:gd name="connsiteY8" fmla="*/ 0 h 107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5354" h="1079731">
                  <a:moveTo>
                    <a:pt x="0" y="0"/>
                  </a:moveTo>
                  <a:lnTo>
                    <a:pt x="4751512" y="0"/>
                  </a:lnTo>
                  <a:lnTo>
                    <a:pt x="4751512" y="2"/>
                  </a:lnTo>
                  <a:lnTo>
                    <a:pt x="4880305" y="2"/>
                  </a:lnTo>
                  <a:cubicBezTo>
                    <a:pt x="4937692" y="237598"/>
                    <a:pt x="5026950" y="481502"/>
                    <a:pt x="5136875" y="720138"/>
                  </a:cubicBezTo>
                  <a:lnTo>
                    <a:pt x="5245354" y="933808"/>
                  </a:lnTo>
                  <a:lnTo>
                    <a:pt x="5228810" y="927101"/>
                  </a:lnTo>
                  <a:cubicBezTo>
                    <a:pt x="4129065" y="476698"/>
                    <a:pt x="1240367" y="1583267"/>
                    <a:pt x="0" y="774700"/>
                  </a:cubicBezTo>
                  <a:lnTo>
                    <a:pt x="0" y="0"/>
                  </a:lnTo>
                  <a:close/>
                </a:path>
              </a:pathLst>
            </a:custGeom>
            <a:solidFill>
              <a:schemeClr val="bg2"/>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11" name="Freeform: Shape 10">
              <a:extLst>
                <a:ext uri="{FF2B5EF4-FFF2-40B4-BE49-F238E27FC236}">
                  <a16:creationId xmlns:a16="http://schemas.microsoft.com/office/drawing/2014/main" id="{AA7D08AB-4851-4424-869F-9607012024FC}"/>
                </a:ext>
              </a:extLst>
            </p:cNvPr>
            <p:cNvSpPr/>
            <p:nvPr userDrawn="1"/>
          </p:nvSpPr>
          <p:spPr bwMode="auto">
            <a:xfrm>
              <a:off x="4751512" y="0"/>
              <a:ext cx="4392488" cy="1593170"/>
            </a:xfrm>
            <a:custGeom>
              <a:avLst/>
              <a:gdLst>
                <a:gd name="connsiteX0" fmla="*/ 0 w 4392488"/>
                <a:gd name="connsiteY0" fmla="*/ 0 h 1593170"/>
                <a:gd name="connsiteX1" fmla="*/ 4392488 w 4392488"/>
                <a:gd name="connsiteY1" fmla="*/ 0 h 1593170"/>
                <a:gd name="connsiteX2" fmla="*/ 4392487 w 4392488"/>
                <a:gd name="connsiteY2" fmla="*/ 1585912 h 1593170"/>
                <a:gd name="connsiteX3" fmla="*/ 3994850 w 4392488"/>
                <a:gd name="connsiteY3" fmla="*/ 1592943 h 1593170"/>
                <a:gd name="connsiteX4" fmla="*/ 844599 w 4392488"/>
                <a:gd name="connsiteY4" fmla="*/ 1076011 h 1593170"/>
                <a:gd name="connsiteX5" fmla="*/ 493842 w 4392488"/>
                <a:gd name="connsiteY5" fmla="*/ 933808 h 1593170"/>
                <a:gd name="connsiteX6" fmla="*/ 385363 w 4392488"/>
                <a:gd name="connsiteY6" fmla="*/ 720138 h 1593170"/>
                <a:gd name="connsiteX7" fmla="*/ 128793 w 4392488"/>
                <a:gd name="connsiteY7" fmla="*/ 2 h 1593170"/>
                <a:gd name="connsiteX8" fmla="*/ 0 w 4392488"/>
                <a:gd name="connsiteY8" fmla="*/ 2 h 159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488" h="1593170">
                  <a:moveTo>
                    <a:pt x="0" y="0"/>
                  </a:moveTo>
                  <a:lnTo>
                    <a:pt x="4392488" y="0"/>
                  </a:lnTo>
                  <a:cubicBezTo>
                    <a:pt x="4392488" y="528637"/>
                    <a:pt x="4392487" y="1057275"/>
                    <a:pt x="4392487" y="1585912"/>
                  </a:cubicBezTo>
                  <a:lnTo>
                    <a:pt x="3994850" y="1592943"/>
                  </a:lnTo>
                  <a:cubicBezTo>
                    <a:pt x="2359029" y="1600790"/>
                    <a:pt x="1673664" y="1404936"/>
                    <a:pt x="844599" y="1076011"/>
                  </a:cubicBezTo>
                  <a:lnTo>
                    <a:pt x="493842" y="933808"/>
                  </a:lnTo>
                  <a:lnTo>
                    <a:pt x="385363" y="720138"/>
                  </a:lnTo>
                  <a:cubicBezTo>
                    <a:pt x="275438" y="481502"/>
                    <a:pt x="186180" y="237598"/>
                    <a:pt x="128793" y="2"/>
                  </a:cubicBezTo>
                  <a:lnTo>
                    <a:pt x="0" y="2"/>
                  </a:lnTo>
                  <a:close/>
                </a:path>
              </a:pathLst>
            </a:custGeom>
            <a:solidFill>
              <a:schemeClr val="bg1"/>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grpSp>
      <p:sp>
        <p:nvSpPr>
          <p:cNvPr id="4" name="Title 2">
            <a:extLst>
              <a:ext uri="{FF2B5EF4-FFF2-40B4-BE49-F238E27FC236}">
                <a16:creationId xmlns:a16="http://schemas.microsoft.com/office/drawing/2014/main" id="{5A699ADD-7087-7946-83B6-6D8562D06E6D}"/>
              </a:ext>
            </a:extLst>
          </p:cNvPr>
          <p:cNvSpPr>
            <a:spLocks noGrp="1"/>
          </p:cNvSpPr>
          <p:nvPr>
            <p:ph type="title" hasCustomPrompt="1"/>
          </p:nvPr>
        </p:nvSpPr>
        <p:spPr>
          <a:xfrm>
            <a:off x="523200" y="2605935"/>
            <a:ext cx="7351845" cy="3600893"/>
          </a:xfrm>
          <a:prstGeom prst="rect">
            <a:avLst/>
          </a:prstGeom>
        </p:spPr>
        <p:txBody>
          <a:bodyPr anchor="b"/>
          <a:lstStyle>
            <a:lvl1pPr algn="l">
              <a:defRPr sz="3733">
                <a:solidFill>
                  <a:schemeClr val="bg1"/>
                </a:solidFill>
                <a:latin typeface="Crank 8 Plus Two" panose="02000506030000020004" pitchFamily="50" charset="0"/>
              </a:defRPr>
            </a:lvl1pPr>
          </a:lstStyle>
          <a:p>
            <a:r>
              <a:rPr lang="en-US" dirty="0"/>
              <a:t>Click to edit master text style</a:t>
            </a:r>
            <a:br>
              <a:rPr lang="en-US" dirty="0"/>
            </a:br>
            <a:endParaRPr dirty="0"/>
          </a:p>
        </p:txBody>
      </p:sp>
      <p:grpSp>
        <p:nvGrpSpPr>
          <p:cNvPr id="13" name="Graphic 6">
            <a:extLst>
              <a:ext uri="{FF2B5EF4-FFF2-40B4-BE49-F238E27FC236}">
                <a16:creationId xmlns:a16="http://schemas.microsoft.com/office/drawing/2014/main" id="{D633643D-E4DD-431B-9B0B-04C311EFDD0F}"/>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4" name="Freeform: Shape 13">
              <a:extLst>
                <a:ext uri="{FF2B5EF4-FFF2-40B4-BE49-F238E27FC236}">
                  <a16:creationId xmlns:a16="http://schemas.microsoft.com/office/drawing/2014/main" id="{9D250B07-28F8-4D67-8358-D8DA7B650E51}"/>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5" name="Freeform: Shape 14">
              <a:extLst>
                <a:ext uri="{FF2B5EF4-FFF2-40B4-BE49-F238E27FC236}">
                  <a16:creationId xmlns:a16="http://schemas.microsoft.com/office/drawing/2014/main" id="{BFB0B645-C362-4409-AB74-DEC7CB9FEC90}"/>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842222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1A2AC3-F159-9948-AC7D-89CDA03DEF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23"/>
          <a:stretch/>
        </p:blipFill>
        <p:spPr>
          <a:xfrm>
            <a:off x="0" y="0"/>
            <a:ext cx="12192000" cy="6858000"/>
          </a:xfrm>
          <a:prstGeom prst="rect">
            <a:avLst/>
          </a:prstGeom>
        </p:spPr>
      </p:pic>
      <p:pic>
        <p:nvPicPr>
          <p:cNvPr id="3" name="Picture 2">
            <a:extLst>
              <a:ext uri="{FF2B5EF4-FFF2-40B4-BE49-F238E27FC236}">
                <a16:creationId xmlns:a16="http://schemas.microsoft.com/office/drawing/2014/main" id="{069DAC37-4D8D-7F4F-AE76-36CBA712017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2">
            <a:extLst>
              <a:ext uri="{FF2B5EF4-FFF2-40B4-BE49-F238E27FC236}">
                <a16:creationId xmlns:a16="http://schemas.microsoft.com/office/drawing/2014/main" id="{31A5E99C-8CA2-F146-BD8A-3B7EDC273C35}"/>
              </a:ext>
            </a:extLst>
          </p:cNvPr>
          <p:cNvSpPr>
            <a:spLocks noGrp="1"/>
          </p:cNvSpPr>
          <p:nvPr>
            <p:ph type="title" hasCustomPrompt="1"/>
          </p:nvPr>
        </p:nvSpPr>
        <p:spPr>
          <a:xfrm>
            <a:off x="8250864" y="3572540"/>
            <a:ext cx="3417936" cy="2634288"/>
          </a:xfrm>
          <a:prstGeom prst="rect">
            <a:avLst/>
          </a:prstGeom>
        </p:spPr>
        <p:txBody>
          <a:bodyPr anchor="t"/>
          <a:lstStyle>
            <a:lvl1pPr algn="l">
              <a:defRPr sz="3733">
                <a:solidFill>
                  <a:schemeClr val="bg1"/>
                </a:solidFill>
                <a:latin typeface="Crank 8 Plus Two" panose="02000506030000020004" pitchFamily="50" charset="0"/>
              </a:defRPr>
            </a:lvl1pPr>
          </a:lstStyle>
          <a:p>
            <a:r>
              <a:rPr lang="en-US" dirty="0"/>
              <a:t>Click to edit master text style</a:t>
            </a:r>
            <a:br>
              <a:rPr lang="en-US" dirty="0"/>
            </a:br>
            <a:endParaRPr dirty="0"/>
          </a:p>
        </p:txBody>
      </p:sp>
      <p:grpSp>
        <p:nvGrpSpPr>
          <p:cNvPr id="16" name="Graphic 6">
            <a:extLst>
              <a:ext uri="{FF2B5EF4-FFF2-40B4-BE49-F238E27FC236}">
                <a16:creationId xmlns:a16="http://schemas.microsoft.com/office/drawing/2014/main" id="{60F79B90-A5BF-464B-9FC0-BA312F99F8FF}"/>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7" name="Freeform: Shape 16">
              <a:extLst>
                <a:ext uri="{FF2B5EF4-FFF2-40B4-BE49-F238E27FC236}">
                  <a16:creationId xmlns:a16="http://schemas.microsoft.com/office/drawing/2014/main" id="{D414F7A2-3BB3-4C91-9D26-3F07AEE4D90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8" name="Freeform: Shape 17">
              <a:extLst>
                <a:ext uri="{FF2B5EF4-FFF2-40B4-BE49-F238E27FC236}">
                  <a16:creationId xmlns:a16="http://schemas.microsoft.com/office/drawing/2014/main" id="{FF81E028-69D5-42B5-A55A-A633AD2515F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95759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819620-D566-614F-9F43-7FA4E47C417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8"/>
          <a:stretch/>
        </p:blipFill>
        <p:spPr>
          <a:xfrm>
            <a:off x="0" y="976620"/>
            <a:ext cx="12192000" cy="5909733"/>
          </a:xfrm>
          <a:prstGeom prst="rect">
            <a:avLst/>
          </a:prstGeom>
        </p:spPr>
      </p:pic>
      <p:pic>
        <p:nvPicPr>
          <p:cNvPr id="5" name="Picture 4">
            <a:extLst>
              <a:ext uri="{FF2B5EF4-FFF2-40B4-BE49-F238E27FC236}">
                <a16:creationId xmlns:a16="http://schemas.microsoft.com/office/drawing/2014/main" id="{CCB738A6-8BFB-5B44-9A3A-288D921446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116726" y="976619"/>
            <a:ext cx="4593265" cy="5881380"/>
          </a:xfrm>
          <a:prstGeom prst="rect">
            <a:avLst/>
          </a:prstGeom>
        </p:spPr>
      </p:pic>
      <p:sp>
        <p:nvSpPr>
          <p:cNvPr id="7" name="Title 2">
            <a:extLst>
              <a:ext uri="{FF2B5EF4-FFF2-40B4-BE49-F238E27FC236}">
                <a16:creationId xmlns:a16="http://schemas.microsoft.com/office/drawing/2014/main" id="{FD94BEB7-856F-BE46-840B-492CC8ED55A7}"/>
              </a:ext>
            </a:extLst>
          </p:cNvPr>
          <p:cNvSpPr>
            <a:spLocks noGrp="1"/>
          </p:cNvSpPr>
          <p:nvPr>
            <p:ph type="title" hasCustomPrompt="1"/>
          </p:nvPr>
        </p:nvSpPr>
        <p:spPr>
          <a:xfrm>
            <a:off x="1757915" y="651173"/>
            <a:ext cx="5358811" cy="1698847"/>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sp>
        <p:nvSpPr>
          <p:cNvPr id="8" name="Text Placeholder 14">
            <a:extLst>
              <a:ext uri="{FF2B5EF4-FFF2-40B4-BE49-F238E27FC236}">
                <a16:creationId xmlns:a16="http://schemas.microsoft.com/office/drawing/2014/main" id="{BD3EE384-F1ED-D14E-A253-4D3B88253801}"/>
              </a:ext>
            </a:extLst>
          </p:cNvPr>
          <p:cNvSpPr>
            <a:spLocks noGrp="1"/>
          </p:cNvSpPr>
          <p:nvPr>
            <p:ph type="body" sz="quarter" idx="10" hasCustomPrompt="1"/>
          </p:nvPr>
        </p:nvSpPr>
        <p:spPr>
          <a:xfrm>
            <a:off x="1758897" y="2573372"/>
            <a:ext cx="5357441"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grpSp>
        <p:nvGrpSpPr>
          <p:cNvPr id="17" name="Graphic 6">
            <a:extLst>
              <a:ext uri="{FF2B5EF4-FFF2-40B4-BE49-F238E27FC236}">
                <a16:creationId xmlns:a16="http://schemas.microsoft.com/office/drawing/2014/main" id="{18D7DF71-1345-4CE8-BAAD-18593576850C}"/>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2924530F-F7D1-44F1-A1BD-83B9CED37E6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F77F6597-EB84-4BB9-BB4E-90BB460C0CF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145225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x text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D760790-B7C6-3E4C-8B59-C560A5C14E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888133" cy="6858000"/>
          </a:xfrm>
          <a:prstGeom prst="rect">
            <a:avLst/>
          </a:prstGeom>
        </p:spPr>
      </p:pic>
      <p:sp>
        <p:nvSpPr>
          <p:cNvPr id="6" name="Title 2">
            <a:extLst>
              <a:ext uri="{FF2B5EF4-FFF2-40B4-BE49-F238E27FC236}">
                <a16:creationId xmlns:a16="http://schemas.microsoft.com/office/drawing/2014/main" id="{347A5F89-9F33-C642-AD95-38CE11FBBAA5}"/>
              </a:ext>
            </a:extLst>
          </p:cNvPr>
          <p:cNvSpPr>
            <a:spLocks noGrp="1"/>
          </p:cNvSpPr>
          <p:nvPr>
            <p:ph type="title" hasCustomPrompt="1"/>
          </p:nvPr>
        </p:nvSpPr>
        <p:spPr>
          <a:xfrm>
            <a:off x="2150975" y="651174"/>
            <a:ext cx="6978848" cy="3928533"/>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grpSp>
        <p:nvGrpSpPr>
          <p:cNvPr id="15" name="Graphic 6">
            <a:extLst>
              <a:ext uri="{FF2B5EF4-FFF2-40B4-BE49-F238E27FC236}">
                <a16:creationId xmlns:a16="http://schemas.microsoft.com/office/drawing/2014/main" id="{78B0109D-EB60-4667-8E45-986C0970076F}"/>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6" name="Freeform: Shape 15">
              <a:extLst>
                <a:ext uri="{FF2B5EF4-FFF2-40B4-BE49-F238E27FC236}">
                  <a16:creationId xmlns:a16="http://schemas.microsoft.com/office/drawing/2014/main" id="{44ADDD73-81C6-4150-B26A-F9CDD64B860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850BBCDD-FEA0-491D-B97C-43BA51388FF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403340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ED05DE6-CE1F-C447-9BB4-87E0E7BBAD7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3667" t="15127" r="2513" b="21715"/>
          <a:stretch/>
        </p:blipFill>
        <p:spPr>
          <a:xfrm>
            <a:off x="1871531" y="0"/>
            <a:ext cx="10320469" cy="6858000"/>
          </a:xfrm>
          <a:prstGeom prst="rect">
            <a:avLst/>
          </a:prstGeom>
        </p:spPr>
      </p:pic>
      <p:pic>
        <p:nvPicPr>
          <p:cNvPr id="3" name="Picture 2">
            <a:extLst>
              <a:ext uri="{FF2B5EF4-FFF2-40B4-BE49-F238E27FC236}">
                <a16:creationId xmlns:a16="http://schemas.microsoft.com/office/drawing/2014/main" id="{3E230182-88F6-D244-985B-DF2D6C57459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32"/>
          <a:stretch/>
        </p:blipFill>
        <p:spPr>
          <a:xfrm>
            <a:off x="0" y="0"/>
            <a:ext cx="6096000" cy="6858000"/>
          </a:xfrm>
          <a:prstGeom prst="rect">
            <a:avLst/>
          </a:prstGeom>
        </p:spPr>
      </p:pic>
      <p:sp>
        <p:nvSpPr>
          <p:cNvPr id="9" name="Title 2">
            <a:extLst>
              <a:ext uri="{FF2B5EF4-FFF2-40B4-BE49-F238E27FC236}">
                <a16:creationId xmlns:a16="http://schemas.microsoft.com/office/drawing/2014/main" id="{99914209-3B3A-524B-9E86-B48BFB2346D5}"/>
              </a:ext>
            </a:extLst>
          </p:cNvPr>
          <p:cNvSpPr>
            <a:spLocks noGrp="1"/>
          </p:cNvSpPr>
          <p:nvPr>
            <p:ph type="title" hasCustomPrompt="1"/>
          </p:nvPr>
        </p:nvSpPr>
        <p:spPr>
          <a:xfrm>
            <a:off x="523201" y="3670204"/>
            <a:ext cx="4132640" cy="2536617"/>
          </a:xfrm>
          <a:prstGeom prst="rect">
            <a:avLst/>
          </a:prstGeom>
        </p:spPr>
        <p:txBody>
          <a:bodyPr/>
          <a:lstStyle>
            <a:lvl1pPr algn="l">
              <a:defRPr sz="3733">
                <a:solidFill>
                  <a:schemeClr val="bg1"/>
                </a:solidFill>
                <a:latin typeface="Crank 8 Plus Two" panose="02000506030000020004" pitchFamily="50" charset="0"/>
              </a:defRPr>
            </a:lvl1pPr>
          </a:lstStyle>
          <a:p>
            <a:r>
              <a:rPr lang="en-US" dirty="0"/>
              <a:t>Click to edit master text</a:t>
            </a:r>
            <a:br>
              <a:rPr lang="en-US" dirty="0"/>
            </a:br>
            <a:r>
              <a:rPr lang="en-US" dirty="0"/>
              <a:t>style</a:t>
            </a:r>
            <a:br>
              <a:rPr lang="en-US" dirty="0"/>
            </a:br>
            <a:endParaRPr dirty="0"/>
          </a:p>
        </p:txBody>
      </p:sp>
      <p:grpSp>
        <p:nvGrpSpPr>
          <p:cNvPr id="17" name="Graphic 6">
            <a:extLst>
              <a:ext uri="{FF2B5EF4-FFF2-40B4-BE49-F238E27FC236}">
                <a16:creationId xmlns:a16="http://schemas.microsoft.com/office/drawing/2014/main" id="{136DA20E-C639-45BA-838A-3E6A63A956A1}"/>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D96846B4-CB0E-421C-B3BC-E2E88DF5127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567B8518-1913-41E3-9395-A0D5ED3772C9}"/>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727897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19811E-2A34-C74B-9B32-A294B093FDC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49"/>
          <a:stretch/>
        </p:blipFill>
        <p:spPr>
          <a:xfrm>
            <a:off x="0" y="3420533"/>
            <a:ext cx="12192000" cy="3437467"/>
          </a:xfrm>
          <a:prstGeom prst="rect">
            <a:avLst/>
          </a:prstGeom>
        </p:spPr>
      </p:pic>
      <p:pic>
        <p:nvPicPr>
          <p:cNvPr id="8" name="Picture 7">
            <a:extLst>
              <a:ext uri="{FF2B5EF4-FFF2-40B4-BE49-F238E27FC236}">
                <a16:creationId xmlns:a16="http://schemas.microsoft.com/office/drawing/2014/main" id="{E9BFD520-A4D7-D748-B973-B9BB2A6899C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310739"/>
            <a:ext cx="7921780" cy="5936055"/>
          </a:xfrm>
          <a:prstGeom prst="rect">
            <a:avLst/>
          </a:prstGeom>
        </p:spPr>
      </p:pic>
      <p:pic>
        <p:nvPicPr>
          <p:cNvPr id="6" name="Picture 5">
            <a:extLst>
              <a:ext uri="{FF2B5EF4-FFF2-40B4-BE49-F238E27FC236}">
                <a16:creationId xmlns:a16="http://schemas.microsoft.com/office/drawing/2014/main" id="{E0C621FD-B4DF-9742-8962-47E1BE85DD8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3420533"/>
            <a:ext cx="12192000" cy="3437467"/>
          </a:xfrm>
          <a:prstGeom prst="rect">
            <a:avLst/>
          </a:prstGeom>
        </p:spPr>
      </p:pic>
      <p:sp>
        <p:nvSpPr>
          <p:cNvPr id="10" name="Title 2">
            <a:extLst>
              <a:ext uri="{FF2B5EF4-FFF2-40B4-BE49-F238E27FC236}">
                <a16:creationId xmlns:a16="http://schemas.microsoft.com/office/drawing/2014/main" id="{71AA3330-CB89-304C-93DA-68B47CE49284}"/>
              </a:ext>
            </a:extLst>
          </p:cNvPr>
          <p:cNvSpPr>
            <a:spLocks noGrp="1"/>
          </p:cNvSpPr>
          <p:nvPr>
            <p:ph type="title" hasCustomPrompt="1"/>
          </p:nvPr>
        </p:nvSpPr>
        <p:spPr>
          <a:xfrm>
            <a:off x="5869172" y="1329804"/>
            <a:ext cx="5671459" cy="1785125"/>
          </a:xfrm>
          <a:prstGeom prst="rect">
            <a:avLst/>
          </a:prstGeom>
        </p:spPr>
        <p:txBody>
          <a:bodyPr/>
          <a:lstStyle>
            <a:lvl1pPr algn="l">
              <a:defRPr sz="3733">
                <a:solidFill>
                  <a:schemeClr val="tx2"/>
                </a:solidFill>
                <a:latin typeface="Crank 8 Plus Two" panose="02000506030000020004" pitchFamily="50" charset="0"/>
              </a:defRPr>
            </a:lvl1pPr>
          </a:lstStyle>
          <a:p>
            <a:r>
              <a:rPr lang="en-US" dirty="0"/>
              <a:t>Click to edit master text style</a:t>
            </a:r>
            <a:br>
              <a:rPr lang="en-US" dirty="0"/>
            </a:br>
            <a:endParaRPr dirty="0"/>
          </a:p>
        </p:txBody>
      </p:sp>
      <p:grpSp>
        <p:nvGrpSpPr>
          <p:cNvPr id="17" name="Graphic 6">
            <a:extLst>
              <a:ext uri="{FF2B5EF4-FFF2-40B4-BE49-F238E27FC236}">
                <a16:creationId xmlns:a16="http://schemas.microsoft.com/office/drawing/2014/main" id="{F6046779-2A26-4750-A04E-0265A201B831}"/>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20E8F3D9-0C03-4C94-BCC9-6A6679E92661}"/>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212AC616-D01C-4CFF-A1B3-45A457B6EF7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97213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9DCD014-EA08-E942-AB22-076C947F7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1A82AF6-5BA0-0143-A3BE-B77F46E89DC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048933"/>
            <a:ext cx="12192000" cy="4809067"/>
          </a:xfrm>
          <a:prstGeom prst="rect">
            <a:avLst/>
          </a:prstGeom>
        </p:spPr>
      </p:pic>
      <p:sp>
        <p:nvSpPr>
          <p:cNvPr id="10" name="Title 2">
            <a:extLst>
              <a:ext uri="{FF2B5EF4-FFF2-40B4-BE49-F238E27FC236}">
                <a16:creationId xmlns:a16="http://schemas.microsoft.com/office/drawing/2014/main" id="{C98930C6-1160-C344-8FFE-4ABC0635D234}"/>
              </a:ext>
            </a:extLst>
          </p:cNvPr>
          <p:cNvSpPr>
            <a:spLocks noGrp="1"/>
          </p:cNvSpPr>
          <p:nvPr>
            <p:ph type="title" hasCustomPrompt="1"/>
          </p:nvPr>
        </p:nvSpPr>
        <p:spPr>
          <a:xfrm>
            <a:off x="524542" y="3525011"/>
            <a:ext cx="4550733" cy="1698847"/>
          </a:xfrm>
          <a:prstGeom prst="rect">
            <a:avLst/>
          </a:prstGeom>
        </p:spPr>
        <p:txBody>
          <a:bodyPr/>
          <a:lstStyle>
            <a:lvl1pPr algn="l">
              <a:defRPr sz="3733">
                <a:solidFill>
                  <a:schemeClr val="bg1"/>
                </a:solidFill>
                <a:latin typeface="Crank 8 Plus Two" panose="02000506030000020004" pitchFamily="50" charset="0"/>
              </a:defRPr>
            </a:lvl1pPr>
          </a:lstStyle>
          <a:p>
            <a:r>
              <a:rPr lang="en-US" dirty="0"/>
              <a:t>Click to edit master text style</a:t>
            </a:r>
            <a:br>
              <a:rPr lang="en-US" dirty="0"/>
            </a:br>
            <a:endParaRPr dirty="0"/>
          </a:p>
        </p:txBody>
      </p:sp>
      <p:sp>
        <p:nvSpPr>
          <p:cNvPr id="11" name="Text Placeholder 14">
            <a:extLst>
              <a:ext uri="{FF2B5EF4-FFF2-40B4-BE49-F238E27FC236}">
                <a16:creationId xmlns:a16="http://schemas.microsoft.com/office/drawing/2014/main" id="{E86B0EFD-53C1-F442-B3AE-FF5AD31CAC70}"/>
              </a:ext>
            </a:extLst>
          </p:cNvPr>
          <p:cNvSpPr>
            <a:spLocks noGrp="1"/>
          </p:cNvSpPr>
          <p:nvPr>
            <p:ph type="body" sz="quarter" idx="10" hasCustomPrompt="1"/>
          </p:nvPr>
        </p:nvSpPr>
        <p:spPr>
          <a:xfrm>
            <a:off x="525706" y="5475564"/>
            <a:ext cx="4549569" cy="731264"/>
          </a:xfrm>
          <a:prstGeom prst="rect">
            <a:avLst/>
          </a:prstGeom>
        </p:spPr>
        <p:txBody>
          <a:bodyPr/>
          <a:lstStyle>
            <a:lvl1pPr marL="0" indent="0">
              <a:buNone/>
              <a:defRPr sz="1867">
                <a:solidFill>
                  <a:schemeClr val="bg1"/>
                </a:solidFill>
                <a:latin typeface="+mn-lt"/>
              </a:defRPr>
            </a:lvl1pPr>
          </a:lstStyle>
          <a:p>
            <a:pPr lvl="0"/>
            <a:r>
              <a:rPr lang="nl-BE" dirty="0"/>
              <a:t>Click to add text</a:t>
            </a:r>
            <a:endParaRPr dirty="0"/>
          </a:p>
        </p:txBody>
      </p:sp>
      <p:grpSp>
        <p:nvGrpSpPr>
          <p:cNvPr id="18" name="Graphic 6">
            <a:extLst>
              <a:ext uri="{FF2B5EF4-FFF2-40B4-BE49-F238E27FC236}">
                <a16:creationId xmlns:a16="http://schemas.microsoft.com/office/drawing/2014/main" id="{5BC0A5D3-FA9E-4676-A388-A73187A5CAEA}"/>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2D4ECDDD-CA76-485E-9859-0596F982C988}"/>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7FE73565-1FFB-4AE1-ACDD-B6EC843A4132}"/>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26688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lantencase">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2F9903C3-D7CB-4DC2-AFFB-A827AA40E49E}"/>
              </a:ext>
            </a:extLst>
          </p:cNvPr>
          <p:cNvSpPr>
            <a:spLocks/>
          </p:cNvSpPr>
          <p:nvPr userDrawn="1"/>
        </p:nvSpPr>
        <p:spPr bwMode="auto">
          <a:xfrm>
            <a:off x="9388946" y="0"/>
            <a:ext cx="2803053" cy="6858000"/>
          </a:xfrm>
          <a:custGeom>
            <a:avLst/>
            <a:gdLst>
              <a:gd name="connsiteX0" fmla="*/ 1261459 w 2102290"/>
              <a:gd name="connsiteY0" fmla="*/ 0 h 5143500"/>
              <a:gd name="connsiteX1" fmla="*/ 1296233 w 2102290"/>
              <a:gd name="connsiteY1" fmla="*/ 0 h 5143500"/>
              <a:gd name="connsiteX2" fmla="*/ 1745423 w 2102290"/>
              <a:gd name="connsiteY2" fmla="*/ 0 h 5143500"/>
              <a:gd name="connsiteX3" fmla="*/ 1974325 w 2102290"/>
              <a:gd name="connsiteY3" fmla="*/ 0 h 5143500"/>
              <a:gd name="connsiteX4" fmla="*/ 2009099 w 2102290"/>
              <a:gd name="connsiteY4" fmla="*/ 0 h 5143500"/>
              <a:gd name="connsiteX5" fmla="*/ 2102290 w 2102290"/>
              <a:gd name="connsiteY5" fmla="*/ 0 h 5143500"/>
              <a:gd name="connsiteX6" fmla="*/ 2102290 w 2102290"/>
              <a:gd name="connsiteY6" fmla="*/ 5143500 h 5143500"/>
              <a:gd name="connsiteX7" fmla="*/ 2009099 w 2102290"/>
              <a:gd name="connsiteY7" fmla="*/ 5143500 h 5143500"/>
              <a:gd name="connsiteX8" fmla="*/ 1745423 w 2102290"/>
              <a:gd name="connsiteY8" fmla="*/ 5143500 h 5143500"/>
              <a:gd name="connsiteX9" fmla="*/ 0 w 2102290"/>
              <a:gd name="connsiteY9" fmla="*/ 5143500 h 5143500"/>
              <a:gd name="connsiteX10" fmla="*/ 15393 w 2102290"/>
              <a:gd name="connsiteY10" fmla="*/ 5066863 h 5143500"/>
              <a:gd name="connsiteX11" fmla="*/ 108124 w 2102290"/>
              <a:gd name="connsiteY11" fmla="*/ 4634044 h 5143500"/>
              <a:gd name="connsiteX12" fmla="*/ 241424 w 2102290"/>
              <a:gd name="connsiteY12" fmla="*/ 4131974 h 5143500"/>
              <a:gd name="connsiteX13" fmla="*/ 363133 w 2102290"/>
              <a:gd name="connsiteY13" fmla="*/ 3774178 h 5143500"/>
              <a:gd name="connsiteX14" fmla="*/ 560185 w 2102290"/>
              <a:gd name="connsiteY14" fmla="*/ 3266337 h 5143500"/>
              <a:gd name="connsiteX15" fmla="*/ 699281 w 2102290"/>
              <a:gd name="connsiteY15" fmla="*/ 2943166 h 5143500"/>
              <a:gd name="connsiteX16" fmla="*/ 896333 w 2102290"/>
              <a:gd name="connsiteY16" fmla="*/ 2481493 h 5143500"/>
              <a:gd name="connsiteX17" fmla="*/ 1075998 w 2102290"/>
              <a:gd name="connsiteY17" fmla="*/ 2025591 h 5143500"/>
              <a:gd name="connsiteX18" fmla="*/ 1226685 w 2102290"/>
              <a:gd name="connsiteY18" fmla="*/ 1535063 h 5143500"/>
              <a:gd name="connsiteX19" fmla="*/ 1296233 w 2102290"/>
              <a:gd name="connsiteY19" fmla="*/ 1165725 h 5143500"/>
              <a:gd name="connsiteX20" fmla="*/ 1331007 w 2102290"/>
              <a:gd name="connsiteY20" fmla="*/ 773303 h 5143500"/>
              <a:gd name="connsiteX21" fmla="*/ 1325211 w 2102290"/>
              <a:gd name="connsiteY21" fmla="*/ 478986 h 5143500"/>
              <a:gd name="connsiteX22" fmla="*/ 1302029 w 2102290"/>
              <a:gd name="connsiteY22" fmla="*/ 259691 h 5143500"/>
              <a:gd name="connsiteX23" fmla="*/ 1261459 w 2102290"/>
              <a:gd name="connsiteY23" fmla="*/ 11542 h 5143500"/>
              <a:gd name="connsiteX24" fmla="*/ 1261459 w 2102290"/>
              <a:gd name="connsiteY24" fmla="*/ 0 h 5143500"/>
              <a:gd name="connsiteX0" fmla="*/ 1261459 w 2102290"/>
              <a:gd name="connsiteY0" fmla="*/ 0 h 5143500"/>
              <a:gd name="connsiteX1" fmla="*/ 1296233 w 2102290"/>
              <a:gd name="connsiteY1" fmla="*/ 0 h 5143500"/>
              <a:gd name="connsiteX2" fmla="*/ 1974325 w 2102290"/>
              <a:gd name="connsiteY2" fmla="*/ 0 h 5143500"/>
              <a:gd name="connsiteX3" fmla="*/ 2009099 w 2102290"/>
              <a:gd name="connsiteY3" fmla="*/ 0 h 5143500"/>
              <a:gd name="connsiteX4" fmla="*/ 2102290 w 2102290"/>
              <a:gd name="connsiteY4" fmla="*/ 0 h 5143500"/>
              <a:gd name="connsiteX5" fmla="*/ 2102290 w 2102290"/>
              <a:gd name="connsiteY5" fmla="*/ 5143500 h 5143500"/>
              <a:gd name="connsiteX6" fmla="*/ 2009099 w 2102290"/>
              <a:gd name="connsiteY6" fmla="*/ 5143500 h 5143500"/>
              <a:gd name="connsiteX7" fmla="*/ 1745423 w 2102290"/>
              <a:gd name="connsiteY7" fmla="*/ 5143500 h 5143500"/>
              <a:gd name="connsiteX8" fmla="*/ 0 w 2102290"/>
              <a:gd name="connsiteY8" fmla="*/ 5143500 h 5143500"/>
              <a:gd name="connsiteX9" fmla="*/ 15393 w 2102290"/>
              <a:gd name="connsiteY9" fmla="*/ 5066863 h 5143500"/>
              <a:gd name="connsiteX10" fmla="*/ 108124 w 2102290"/>
              <a:gd name="connsiteY10" fmla="*/ 4634044 h 5143500"/>
              <a:gd name="connsiteX11" fmla="*/ 241424 w 2102290"/>
              <a:gd name="connsiteY11" fmla="*/ 4131974 h 5143500"/>
              <a:gd name="connsiteX12" fmla="*/ 363133 w 2102290"/>
              <a:gd name="connsiteY12" fmla="*/ 3774178 h 5143500"/>
              <a:gd name="connsiteX13" fmla="*/ 560185 w 2102290"/>
              <a:gd name="connsiteY13" fmla="*/ 3266337 h 5143500"/>
              <a:gd name="connsiteX14" fmla="*/ 699281 w 2102290"/>
              <a:gd name="connsiteY14" fmla="*/ 2943166 h 5143500"/>
              <a:gd name="connsiteX15" fmla="*/ 896333 w 2102290"/>
              <a:gd name="connsiteY15" fmla="*/ 2481493 h 5143500"/>
              <a:gd name="connsiteX16" fmla="*/ 1075998 w 2102290"/>
              <a:gd name="connsiteY16" fmla="*/ 2025591 h 5143500"/>
              <a:gd name="connsiteX17" fmla="*/ 1226685 w 2102290"/>
              <a:gd name="connsiteY17" fmla="*/ 1535063 h 5143500"/>
              <a:gd name="connsiteX18" fmla="*/ 1296233 w 2102290"/>
              <a:gd name="connsiteY18" fmla="*/ 1165725 h 5143500"/>
              <a:gd name="connsiteX19" fmla="*/ 1331007 w 2102290"/>
              <a:gd name="connsiteY19" fmla="*/ 773303 h 5143500"/>
              <a:gd name="connsiteX20" fmla="*/ 1325211 w 2102290"/>
              <a:gd name="connsiteY20" fmla="*/ 478986 h 5143500"/>
              <a:gd name="connsiteX21" fmla="*/ 1302029 w 2102290"/>
              <a:gd name="connsiteY21" fmla="*/ 259691 h 5143500"/>
              <a:gd name="connsiteX22" fmla="*/ 1261459 w 2102290"/>
              <a:gd name="connsiteY22" fmla="*/ 11542 h 5143500"/>
              <a:gd name="connsiteX23" fmla="*/ 1261459 w 2102290"/>
              <a:gd name="connsiteY23" fmla="*/ 0 h 5143500"/>
              <a:gd name="connsiteX0" fmla="*/ 1261459 w 2102290"/>
              <a:gd name="connsiteY0" fmla="*/ 0 h 5143500"/>
              <a:gd name="connsiteX1" fmla="*/ 1296233 w 2102290"/>
              <a:gd name="connsiteY1" fmla="*/ 0 h 5143500"/>
              <a:gd name="connsiteX2" fmla="*/ 1974325 w 2102290"/>
              <a:gd name="connsiteY2" fmla="*/ 0 h 5143500"/>
              <a:gd name="connsiteX3" fmla="*/ 2102290 w 2102290"/>
              <a:gd name="connsiteY3" fmla="*/ 0 h 5143500"/>
              <a:gd name="connsiteX4" fmla="*/ 2102290 w 2102290"/>
              <a:gd name="connsiteY4" fmla="*/ 5143500 h 5143500"/>
              <a:gd name="connsiteX5" fmla="*/ 2009099 w 2102290"/>
              <a:gd name="connsiteY5" fmla="*/ 5143500 h 5143500"/>
              <a:gd name="connsiteX6" fmla="*/ 1745423 w 2102290"/>
              <a:gd name="connsiteY6" fmla="*/ 5143500 h 5143500"/>
              <a:gd name="connsiteX7" fmla="*/ 0 w 2102290"/>
              <a:gd name="connsiteY7" fmla="*/ 5143500 h 5143500"/>
              <a:gd name="connsiteX8" fmla="*/ 15393 w 2102290"/>
              <a:gd name="connsiteY8" fmla="*/ 5066863 h 5143500"/>
              <a:gd name="connsiteX9" fmla="*/ 108124 w 2102290"/>
              <a:gd name="connsiteY9" fmla="*/ 4634044 h 5143500"/>
              <a:gd name="connsiteX10" fmla="*/ 241424 w 2102290"/>
              <a:gd name="connsiteY10" fmla="*/ 4131974 h 5143500"/>
              <a:gd name="connsiteX11" fmla="*/ 363133 w 2102290"/>
              <a:gd name="connsiteY11" fmla="*/ 3774178 h 5143500"/>
              <a:gd name="connsiteX12" fmla="*/ 560185 w 2102290"/>
              <a:gd name="connsiteY12" fmla="*/ 3266337 h 5143500"/>
              <a:gd name="connsiteX13" fmla="*/ 699281 w 2102290"/>
              <a:gd name="connsiteY13" fmla="*/ 2943166 h 5143500"/>
              <a:gd name="connsiteX14" fmla="*/ 896333 w 2102290"/>
              <a:gd name="connsiteY14" fmla="*/ 2481493 h 5143500"/>
              <a:gd name="connsiteX15" fmla="*/ 1075998 w 2102290"/>
              <a:gd name="connsiteY15" fmla="*/ 2025591 h 5143500"/>
              <a:gd name="connsiteX16" fmla="*/ 1226685 w 2102290"/>
              <a:gd name="connsiteY16" fmla="*/ 1535063 h 5143500"/>
              <a:gd name="connsiteX17" fmla="*/ 1296233 w 2102290"/>
              <a:gd name="connsiteY17" fmla="*/ 1165725 h 5143500"/>
              <a:gd name="connsiteX18" fmla="*/ 1331007 w 2102290"/>
              <a:gd name="connsiteY18" fmla="*/ 773303 h 5143500"/>
              <a:gd name="connsiteX19" fmla="*/ 1325211 w 2102290"/>
              <a:gd name="connsiteY19" fmla="*/ 478986 h 5143500"/>
              <a:gd name="connsiteX20" fmla="*/ 1302029 w 2102290"/>
              <a:gd name="connsiteY20" fmla="*/ 259691 h 5143500"/>
              <a:gd name="connsiteX21" fmla="*/ 1261459 w 2102290"/>
              <a:gd name="connsiteY21" fmla="*/ 11542 h 5143500"/>
              <a:gd name="connsiteX22" fmla="*/ 1261459 w 2102290"/>
              <a:gd name="connsiteY22"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2009099 w 2102290"/>
              <a:gd name="connsiteY4" fmla="*/ 5143500 h 5143500"/>
              <a:gd name="connsiteX5" fmla="*/ 1745423 w 2102290"/>
              <a:gd name="connsiteY5" fmla="*/ 5143500 h 5143500"/>
              <a:gd name="connsiteX6" fmla="*/ 0 w 2102290"/>
              <a:gd name="connsiteY6" fmla="*/ 5143500 h 5143500"/>
              <a:gd name="connsiteX7" fmla="*/ 15393 w 2102290"/>
              <a:gd name="connsiteY7" fmla="*/ 5066863 h 5143500"/>
              <a:gd name="connsiteX8" fmla="*/ 108124 w 2102290"/>
              <a:gd name="connsiteY8" fmla="*/ 4634044 h 5143500"/>
              <a:gd name="connsiteX9" fmla="*/ 241424 w 2102290"/>
              <a:gd name="connsiteY9" fmla="*/ 4131974 h 5143500"/>
              <a:gd name="connsiteX10" fmla="*/ 363133 w 2102290"/>
              <a:gd name="connsiteY10" fmla="*/ 3774178 h 5143500"/>
              <a:gd name="connsiteX11" fmla="*/ 560185 w 2102290"/>
              <a:gd name="connsiteY11" fmla="*/ 3266337 h 5143500"/>
              <a:gd name="connsiteX12" fmla="*/ 699281 w 2102290"/>
              <a:gd name="connsiteY12" fmla="*/ 2943166 h 5143500"/>
              <a:gd name="connsiteX13" fmla="*/ 896333 w 2102290"/>
              <a:gd name="connsiteY13" fmla="*/ 2481493 h 5143500"/>
              <a:gd name="connsiteX14" fmla="*/ 1075998 w 2102290"/>
              <a:gd name="connsiteY14" fmla="*/ 2025591 h 5143500"/>
              <a:gd name="connsiteX15" fmla="*/ 1226685 w 2102290"/>
              <a:gd name="connsiteY15" fmla="*/ 1535063 h 5143500"/>
              <a:gd name="connsiteX16" fmla="*/ 1296233 w 2102290"/>
              <a:gd name="connsiteY16" fmla="*/ 1165725 h 5143500"/>
              <a:gd name="connsiteX17" fmla="*/ 1331007 w 2102290"/>
              <a:gd name="connsiteY17" fmla="*/ 773303 h 5143500"/>
              <a:gd name="connsiteX18" fmla="*/ 1325211 w 2102290"/>
              <a:gd name="connsiteY18" fmla="*/ 478986 h 5143500"/>
              <a:gd name="connsiteX19" fmla="*/ 1302029 w 2102290"/>
              <a:gd name="connsiteY19" fmla="*/ 259691 h 5143500"/>
              <a:gd name="connsiteX20" fmla="*/ 1261459 w 2102290"/>
              <a:gd name="connsiteY20" fmla="*/ 11542 h 5143500"/>
              <a:gd name="connsiteX21" fmla="*/ 1261459 w 2102290"/>
              <a:gd name="connsiteY21"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2009099 w 2102290"/>
              <a:gd name="connsiteY4" fmla="*/ 5143500 h 5143500"/>
              <a:gd name="connsiteX5" fmla="*/ 0 w 2102290"/>
              <a:gd name="connsiteY5" fmla="*/ 5143500 h 5143500"/>
              <a:gd name="connsiteX6" fmla="*/ 15393 w 2102290"/>
              <a:gd name="connsiteY6" fmla="*/ 5066863 h 5143500"/>
              <a:gd name="connsiteX7" fmla="*/ 108124 w 2102290"/>
              <a:gd name="connsiteY7" fmla="*/ 4634044 h 5143500"/>
              <a:gd name="connsiteX8" fmla="*/ 241424 w 2102290"/>
              <a:gd name="connsiteY8" fmla="*/ 4131974 h 5143500"/>
              <a:gd name="connsiteX9" fmla="*/ 363133 w 2102290"/>
              <a:gd name="connsiteY9" fmla="*/ 3774178 h 5143500"/>
              <a:gd name="connsiteX10" fmla="*/ 560185 w 2102290"/>
              <a:gd name="connsiteY10" fmla="*/ 3266337 h 5143500"/>
              <a:gd name="connsiteX11" fmla="*/ 699281 w 2102290"/>
              <a:gd name="connsiteY11" fmla="*/ 2943166 h 5143500"/>
              <a:gd name="connsiteX12" fmla="*/ 896333 w 2102290"/>
              <a:gd name="connsiteY12" fmla="*/ 2481493 h 5143500"/>
              <a:gd name="connsiteX13" fmla="*/ 1075998 w 2102290"/>
              <a:gd name="connsiteY13" fmla="*/ 2025591 h 5143500"/>
              <a:gd name="connsiteX14" fmla="*/ 1226685 w 2102290"/>
              <a:gd name="connsiteY14" fmla="*/ 1535063 h 5143500"/>
              <a:gd name="connsiteX15" fmla="*/ 1296233 w 2102290"/>
              <a:gd name="connsiteY15" fmla="*/ 1165725 h 5143500"/>
              <a:gd name="connsiteX16" fmla="*/ 1331007 w 2102290"/>
              <a:gd name="connsiteY16" fmla="*/ 773303 h 5143500"/>
              <a:gd name="connsiteX17" fmla="*/ 1325211 w 2102290"/>
              <a:gd name="connsiteY17" fmla="*/ 478986 h 5143500"/>
              <a:gd name="connsiteX18" fmla="*/ 1302029 w 2102290"/>
              <a:gd name="connsiteY18" fmla="*/ 259691 h 5143500"/>
              <a:gd name="connsiteX19" fmla="*/ 1261459 w 2102290"/>
              <a:gd name="connsiteY19" fmla="*/ 11542 h 5143500"/>
              <a:gd name="connsiteX20" fmla="*/ 1261459 w 2102290"/>
              <a:gd name="connsiteY20"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0 w 2102290"/>
              <a:gd name="connsiteY4" fmla="*/ 5143500 h 5143500"/>
              <a:gd name="connsiteX5" fmla="*/ 15393 w 2102290"/>
              <a:gd name="connsiteY5" fmla="*/ 5066863 h 5143500"/>
              <a:gd name="connsiteX6" fmla="*/ 108124 w 2102290"/>
              <a:gd name="connsiteY6" fmla="*/ 4634044 h 5143500"/>
              <a:gd name="connsiteX7" fmla="*/ 241424 w 2102290"/>
              <a:gd name="connsiteY7" fmla="*/ 4131974 h 5143500"/>
              <a:gd name="connsiteX8" fmla="*/ 363133 w 2102290"/>
              <a:gd name="connsiteY8" fmla="*/ 3774178 h 5143500"/>
              <a:gd name="connsiteX9" fmla="*/ 560185 w 2102290"/>
              <a:gd name="connsiteY9" fmla="*/ 3266337 h 5143500"/>
              <a:gd name="connsiteX10" fmla="*/ 699281 w 2102290"/>
              <a:gd name="connsiteY10" fmla="*/ 2943166 h 5143500"/>
              <a:gd name="connsiteX11" fmla="*/ 896333 w 2102290"/>
              <a:gd name="connsiteY11" fmla="*/ 2481493 h 5143500"/>
              <a:gd name="connsiteX12" fmla="*/ 1075998 w 2102290"/>
              <a:gd name="connsiteY12" fmla="*/ 2025591 h 5143500"/>
              <a:gd name="connsiteX13" fmla="*/ 1226685 w 2102290"/>
              <a:gd name="connsiteY13" fmla="*/ 1535063 h 5143500"/>
              <a:gd name="connsiteX14" fmla="*/ 1296233 w 2102290"/>
              <a:gd name="connsiteY14" fmla="*/ 1165725 h 5143500"/>
              <a:gd name="connsiteX15" fmla="*/ 1331007 w 2102290"/>
              <a:gd name="connsiteY15" fmla="*/ 773303 h 5143500"/>
              <a:gd name="connsiteX16" fmla="*/ 1325211 w 2102290"/>
              <a:gd name="connsiteY16" fmla="*/ 478986 h 5143500"/>
              <a:gd name="connsiteX17" fmla="*/ 1302029 w 2102290"/>
              <a:gd name="connsiteY17" fmla="*/ 259691 h 5143500"/>
              <a:gd name="connsiteX18" fmla="*/ 1261459 w 2102290"/>
              <a:gd name="connsiteY18" fmla="*/ 11542 h 5143500"/>
              <a:gd name="connsiteX19" fmla="*/ 1261459 w 2102290"/>
              <a:gd name="connsiteY19"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2290" h="5143500">
                <a:moveTo>
                  <a:pt x="1261459" y="0"/>
                </a:moveTo>
                <a:lnTo>
                  <a:pt x="1296233" y="0"/>
                </a:lnTo>
                <a:lnTo>
                  <a:pt x="2102290" y="0"/>
                </a:lnTo>
                <a:lnTo>
                  <a:pt x="2102290" y="5143500"/>
                </a:lnTo>
                <a:lnTo>
                  <a:pt x="0" y="5143500"/>
                </a:lnTo>
                <a:lnTo>
                  <a:pt x="15393" y="5066863"/>
                </a:lnTo>
                <a:cubicBezTo>
                  <a:pt x="44372" y="4922590"/>
                  <a:pt x="73350" y="4778317"/>
                  <a:pt x="108124" y="4634044"/>
                </a:cubicBezTo>
                <a:cubicBezTo>
                  <a:pt x="148693" y="4466688"/>
                  <a:pt x="195059" y="4299331"/>
                  <a:pt x="241424" y="4131974"/>
                </a:cubicBezTo>
                <a:cubicBezTo>
                  <a:pt x="276198" y="4010785"/>
                  <a:pt x="322563" y="3889596"/>
                  <a:pt x="363133" y="3774178"/>
                </a:cubicBezTo>
                <a:cubicBezTo>
                  <a:pt x="426885" y="3601050"/>
                  <a:pt x="496433" y="3433694"/>
                  <a:pt x="560185" y="3266337"/>
                </a:cubicBezTo>
                <a:cubicBezTo>
                  <a:pt x="606550" y="3156690"/>
                  <a:pt x="652915" y="3052814"/>
                  <a:pt x="699281" y="2943166"/>
                </a:cubicBezTo>
                <a:cubicBezTo>
                  <a:pt x="763033" y="2793122"/>
                  <a:pt x="832581" y="2637308"/>
                  <a:pt x="896333" y="2481493"/>
                </a:cubicBezTo>
                <a:cubicBezTo>
                  <a:pt x="960085" y="2331450"/>
                  <a:pt x="1023838" y="2181406"/>
                  <a:pt x="1075998" y="2025591"/>
                </a:cubicBezTo>
                <a:cubicBezTo>
                  <a:pt x="1133955" y="1864005"/>
                  <a:pt x="1180320" y="1702420"/>
                  <a:pt x="1226685" y="1535063"/>
                </a:cubicBezTo>
                <a:cubicBezTo>
                  <a:pt x="1255664" y="1413874"/>
                  <a:pt x="1284642" y="1292685"/>
                  <a:pt x="1296233" y="1165725"/>
                </a:cubicBezTo>
                <a:cubicBezTo>
                  <a:pt x="1319416" y="1032994"/>
                  <a:pt x="1325211" y="906034"/>
                  <a:pt x="1331007" y="773303"/>
                </a:cubicBezTo>
                <a:cubicBezTo>
                  <a:pt x="1336803" y="675197"/>
                  <a:pt x="1331007" y="577091"/>
                  <a:pt x="1325211" y="478986"/>
                </a:cubicBezTo>
                <a:cubicBezTo>
                  <a:pt x="1319416" y="403964"/>
                  <a:pt x="1313620" y="328942"/>
                  <a:pt x="1302029" y="259691"/>
                </a:cubicBezTo>
                <a:cubicBezTo>
                  <a:pt x="1290437" y="178898"/>
                  <a:pt x="1273051" y="98106"/>
                  <a:pt x="1261459" y="11542"/>
                </a:cubicBezTo>
                <a:cubicBezTo>
                  <a:pt x="1255664" y="11542"/>
                  <a:pt x="1261459" y="5771"/>
                  <a:pt x="1261459" y="0"/>
                </a:cubicBezTo>
                <a:close/>
              </a:path>
            </a:pathLst>
          </a:custGeom>
          <a:solidFill>
            <a:schemeClr val="accent1"/>
          </a:solidFill>
          <a:ln>
            <a:noFill/>
          </a:ln>
        </p:spPr>
        <p:txBody>
          <a:bodyPr vert="horz" wrap="square" lIns="121920" tIns="60960" rIns="121920" bIns="60960" numCol="1" anchor="t" anchorCtr="0" compatLnSpc="1">
            <a:prstTxWarp prst="textNoShape">
              <a:avLst/>
            </a:prstTxWarp>
            <a:noAutofit/>
          </a:bodyPr>
          <a:lstStyle/>
          <a:p>
            <a:endParaRPr lang="en-BE" sz="2400"/>
          </a:p>
        </p:txBody>
      </p:sp>
      <p:sp>
        <p:nvSpPr>
          <p:cNvPr id="10" name="Picture Placeholder 8">
            <a:extLst>
              <a:ext uri="{FF2B5EF4-FFF2-40B4-BE49-F238E27FC236}">
                <a16:creationId xmlns:a16="http://schemas.microsoft.com/office/drawing/2014/main" id="{29A048DA-412B-7041-AE8C-711EEA8391C8}"/>
              </a:ext>
            </a:extLst>
          </p:cNvPr>
          <p:cNvSpPr>
            <a:spLocks noGrp="1"/>
          </p:cNvSpPr>
          <p:nvPr>
            <p:ph type="pic" sz="quarter" idx="12"/>
          </p:nvPr>
        </p:nvSpPr>
        <p:spPr>
          <a:xfrm>
            <a:off x="948588" y="2050567"/>
            <a:ext cx="1376848" cy="1377141"/>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0 w 1600200"/>
              <a:gd name="connsiteY0" fmla="*/ 800270 h 1600370"/>
              <a:gd name="connsiteX1" fmla="*/ 800100 w 1600200"/>
              <a:gd name="connsiteY1" fmla="*/ 170 h 1600370"/>
              <a:gd name="connsiteX2" fmla="*/ 1600200 w 1600200"/>
              <a:gd name="connsiteY2" fmla="*/ 800270 h 1600370"/>
              <a:gd name="connsiteX3" fmla="*/ 800100 w 1600200"/>
              <a:gd name="connsiteY3" fmla="*/ 1600370 h 1600370"/>
              <a:gd name="connsiteX4" fmla="*/ 0 w 1600200"/>
              <a:gd name="connsiteY4" fmla="*/ 800270 h 1600370"/>
              <a:gd name="connsiteX0" fmla="*/ 0 w 1600200"/>
              <a:gd name="connsiteY0" fmla="*/ 800270 h 1600540"/>
              <a:gd name="connsiteX1" fmla="*/ 800100 w 1600200"/>
              <a:gd name="connsiteY1" fmla="*/ 170 h 1600540"/>
              <a:gd name="connsiteX2" fmla="*/ 1600200 w 1600200"/>
              <a:gd name="connsiteY2" fmla="*/ 800270 h 1600540"/>
              <a:gd name="connsiteX3" fmla="*/ 800100 w 1600200"/>
              <a:gd name="connsiteY3" fmla="*/ 1600370 h 1600540"/>
              <a:gd name="connsiteX4" fmla="*/ 0 w 1600200"/>
              <a:gd name="connsiteY4" fmla="*/ 800270 h 160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0540">
                <a:moveTo>
                  <a:pt x="0" y="800270"/>
                </a:moveTo>
                <a:cubicBezTo>
                  <a:pt x="0" y="358387"/>
                  <a:pt x="293563" y="-9066"/>
                  <a:pt x="800100" y="170"/>
                </a:cubicBezTo>
                <a:cubicBezTo>
                  <a:pt x="1306637" y="9406"/>
                  <a:pt x="1600200" y="358387"/>
                  <a:pt x="1600200" y="800270"/>
                </a:cubicBezTo>
                <a:cubicBezTo>
                  <a:pt x="1600200" y="1242153"/>
                  <a:pt x="1315874" y="1609606"/>
                  <a:pt x="800100" y="1600370"/>
                </a:cubicBezTo>
                <a:cubicBezTo>
                  <a:pt x="284326" y="1591134"/>
                  <a:pt x="0" y="1242153"/>
                  <a:pt x="0" y="800270"/>
                </a:cubicBezTo>
                <a:close/>
              </a:path>
            </a:pathLst>
          </a:custGeom>
          <a:solidFill>
            <a:schemeClr val="bg2"/>
          </a:solidFill>
        </p:spPr>
        <p:txBody>
          <a:bodyPr anchor="ctr"/>
          <a:lstStyle>
            <a:lvl1pPr marL="0" indent="0" algn="ctr">
              <a:buNone/>
              <a:defRPr sz="1333">
                <a:solidFill>
                  <a:schemeClr val="tx2"/>
                </a:solidFill>
                <a:latin typeface="+mn-lt"/>
              </a:defRPr>
            </a:lvl1pPr>
          </a:lstStyle>
          <a:p>
            <a:r>
              <a:rPr lang="nl-NL" dirty="0"/>
              <a:t>Klik op het pictogram als u een afbeelding wilt toevoegen</a:t>
            </a:r>
            <a:endParaRPr dirty="0"/>
          </a:p>
        </p:txBody>
      </p:sp>
      <p:sp>
        <p:nvSpPr>
          <p:cNvPr id="13" name="Tijdelijke aanduiding voor tekst 8">
            <a:extLst>
              <a:ext uri="{FF2B5EF4-FFF2-40B4-BE49-F238E27FC236}">
                <a16:creationId xmlns:a16="http://schemas.microsoft.com/office/drawing/2014/main" id="{17B44010-1D03-3549-8354-6CFF89BF50DB}"/>
              </a:ext>
            </a:extLst>
          </p:cNvPr>
          <p:cNvSpPr>
            <a:spLocks noGrp="1" noChangeAspect="1"/>
          </p:cNvSpPr>
          <p:nvPr>
            <p:ph type="body" sz="quarter" idx="10" hasCustomPrompt="1"/>
          </p:nvPr>
        </p:nvSpPr>
        <p:spPr>
          <a:xfrm>
            <a:off x="2724379" y="2050569"/>
            <a:ext cx="6798517" cy="1377140"/>
          </a:xfrm>
          <a:prstGeom prst="rect">
            <a:avLst/>
          </a:prstGeom>
        </p:spPr>
        <p:txBody>
          <a:bodyPr lIns="0" tIns="0" rIns="0" bIns="0">
            <a:noAutofit/>
          </a:bodyPr>
          <a:lstStyle>
            <a:lvl1pPr marL="0" marR="0" indent="0" algn="l" defTabSz="609585" rtl="0" eaLnBrk="1" fontAlgn="auto" latinLnBrk="0" hangingPunct="1">
              <a:lnSpc>
                <a:spcPct val="100000"/>
              </a:lnSpc>
              <a:spcBef>
                <a:spcPct val="20000"/>
              </a:spcBef>
              <a:spcAft>
                <a:spcPts val="0"/>
              </a:spcAft>
              <a:buClr>
                <a:schemeClr val="accent1"/>
              </a:buClr>
              <a:buSzTx/>
              <a:buFont typeface="LucidaGrande" charset="0"/>
              <a:buNone/>
              <a:tabLst/>
              <a:defRPr sz="2400" b="0" i="0" kern="0" baseline="0">
                <a:solidFill>
                  <a:schemeClr val="tx2"/>
                </a:solidFill>
                <a:latin typeface="+mn-lt"/>
              </a:defRPr>
            </a:lvl1pPr>
          </a:lstStyle>
          <a:p>
            <a:pPr lvl="0"/>
            <a:r>
              <a:rPr lang="nl-BE" dirty="0"/>
              <a:t>Klik hier om een inspirerende klantencase toe te voegen.</a:t>
            </a:r>
          </a:p>
          <a:p>
            <a:pPr lvl="0"/>
            <a:endParaRPr lang="nl-BE" dirty="0"/>
          </a:p>
          <a:p>
            <a:pPr lvl="0"/>
            <a:endParaRPr lang="nl-BE" dirty="0"/>
          </a:p>
        </p:txBody>
      </p:sp>
      <p:sp>
        <p:nvSpPr>
          <p:cNvPr id="14" name="Tijdelijke aanduiding voor tekst 8">
            <a:extLst>
              <a:ext uri="{FF2B5EF4-FFF2-40B4-BE49-F238E27FC236}">
                <a16:creationId xmlns:a16="http://schemas.microsoft.com/office/drawing/2014/main" id="{87EF790F-67DD-FB42-9E61-3D7F941A1DAB}"/>
              </a:ext>
            </a:extLst>
          </p:cNvPr>
          <p:cNvSpPr>
            <a:spLocks noGrp="1" noChangeAspect="1"/>
          </p:cNvSpPr>
          <p:nvPr>
            <p:ph type="body" sz="quarter" idx="11" hasCustomPrompt="1"/>
          </p:nvPr>
        </p:nvSpPr>
        <p:spPr>
          <a:xfrm>
            <a:off x="2724379" y="3725895"/>
            <a:ext cx="6801017" cy="355775"/>
          </a:xfrm>
          <a:prstGeom prst="rect">
            <a:avLst/>
          </a:prstGeom>
        </p:spPr>
        <p:txBody>
          <a:bodyPr lIns="0" tIns="0" rIns="0" bIns="0">
            <a:noAutofit/>
          </a:bodyPr>
          <a:lstStyle>
            <a:lvl1pPr marL="0" marR="0" indent="0" algn="l" defTabSz="609585" rtl="0" eaLnBrk="1" fontAlgn="auto" latinLnBrk="0" hangingPunct="1">
              <a:lnSpc>
                <a:spcPct val="100000"/>
              </a:lnSpc>
              <a:spcBef>
                <a:spcPct val="20000"/>
              </a:spcBef>
              <a:spcAft>
                <a:spcPts val="0"/>
              </a:spcAft>
              <a:buClr>
                <a:schemeClr val="accent1"/>
              </a:buClr>
              <a:buSzTx/>
              <a:buFont typeface="LucidaGrande" charset="0"/>
              <a:buNone/>
              <a:tabLst/>
              <a:defRPr sz="1600" b="0" i="0" kern="0" baseline="0">
                <a:solidFill>
                  <a:schemeClr val="tx2">
                    <a:lumMod val="60000"/>
                    <a:lumOff val="40000"/>
                  </a:schemeClr>
                </a:solidFill>
                <a:latin typeface="+mn-lt"/>
              </a:defRPr>
            </a:lvl1pPr>
          </a:lstStyle>
          <a:p>
            <a:pPr lvl="0"/>
            <a:r>
              <a:rPr lang="nl-BE" dirty="0"/>
              <a:t>Voornaam Naam, functie (bedrijf)</a:t>
            </a:r>
          </a:p>
          <a:p>
            <a:pPr marL="457189" marR="0" lvl="0" indent="-457189" algn="l" defTabSz="609585" rtl="0" eaLnBrk="1" fontAlgn="auto" latinLnBrk="0" hangingPunct="1">
              <a:lnSpc>
                <a:spcPct val="100000"/>
              </a:lnSpc>
              <a:spcBef>
                <a:spcPct val="20000"/>
              </a:spcBef>
              <a:spcAft>
                <a:spcPts val="0"/>
              </a:spcAft>
              <a:buClr>
                <a:schemeClr val="accent1"/>
              </a:buClr>
              <a:buSzTx/>
              <a:buFont typeface="LucidaGrande" charset="0"/>
              <a:buChar char="●"/>
              <a:tabLst/>
              <a:defRPr/>
            </a:pPr>
            <a:endParaRPr lang="nl-BE" dirty="0"/>
          </a:p>
          <a:p>
            <a:pPr lvl="0"/>
            <a:endParaRPr lang="nl-BE" dirty="0"/>
          </a:p>
          <a:p>
            <a:pPr lvl="0"/>
            <a:endParaRPr lang="nl-BE" dirty="0"/>
          </a:p>
        </p:txBody>
      </p:sp>
      <p:grpSp>
        <p:nvGrpSpPr>
          <p:cNvPr id="19" name="Graphic 6">
            <a:extLst>
              <a:ext uri="{FF2B5EF4-FFF2-40B4-BE49-F238E27FC236}">
                <a16:creationId xmlns:a16="http://schemas.microsoft.com/office/drawing/2014/main" id="{F3C5F4ED-D32D-4122-A112-3FD29B2FF51A}"/>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20" name="Freeform: Shape 19">
              <a:extLst>
                <a:ext uri="{FF2B5EF4-FFF2-40B4-BE49-F238E27FC236}">
                  <a16:creationId xmlns:a16="http://schemas.microsoft.com/office/drawing/2014/main" id="{AA82C817-687B-4FB3-8D39-20222911A00E}"/>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1" name="Freeform: Shape 20">
              <a:extLst>
                <a:ext uri="{FF2B5EF4-FFF2-40B4-BE49-F238E27FC236}">
                  <a16:creationId xmlns:a16="http://schemas.microsoft.com/office/drawing/2014/main" id="{BF6AD143-9E3F-49A4-B752-351B01AD8A60}"/>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61914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Quote ">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C628C558-AA54-41C7-A52E-8570A8024997}"/>
              </a:ext>
            </a:extLst>
          </p:cNvPr>
          <p:cNvSpPr>
            <a:spLocks/>
          </p:cNvSpPr>
          <p:nvPr userDrawn="1"/>
        </p:nvSpPr>
        <p:spPr bwMode="auto">
          <a:xfrm flipH="1">
            <a:off x="0" y="0"/>
            <a:ext cx="2803053" cy="6858000"/>
          </a:xfrm>
          <a:custGeom>
            <a:avLst/>
            <a:gdLst>
              <a:gd name="connsiteX0" fmla="*/ 1261459 w 2102290"/>
              <a:gd name="connsiteY0" fmla="*/ 0 h 5143500"/>
              <a:gd name="connsiteX1" fmla="*/ 1296233 w 2102290"/>
              <a:gd name="connsiteY1" fmla="*/ 0 h 5143500"/>
              <a:gd name="connsiteX2" fmla="*/ 1745423 w 2102290"/>
              <a:gd name="connsiteY2" fmla="*/ 0 h 5143500"/>
              <a:gd name="connsiteX3" fmla="*/ 1974325 w 2102290"/>
              <a:gd name="connsiteY3" fmla="*/ 0 h 5143500"/>
              <a:gd name="connsiteX4" fmla="*/ 2009099 w 2102290"/>
              <a:gd name="connsiteY4" fmla="*/ 0 h 5143500"/>
              <a:gd name="connsiteX5" fmla="*/ 2102290 w 2102290"/>
              <a:gd name="connsiteY5" fmla="*/ 0 h 5143500"/>
              <a:gd name="connsiteX6" fmla="*/ 2102290 w 2102290"/>
              <a:gd name="connsiteY6" fmla="*/ 5143500 h 5143500"/>
              <a:gd name="connsiteX7" fmla="*/ 2009099 w 2102290"/>
              <a:gd name="connsiteY7" fmla="*/ 5143500 h 5143500"/>
              <a:gd name="connsiteX8" fmla="*/ 1745423 w 2102290"/>
              <a:gd name="connsiteY8" fmla="*/ 5143500 h 5143500"/>
              <a:gd name="connsiteX9" fmla="*/ 0 w 2102290"/>
              <a:gd name="connsiteY9" fmla="*/ 5143500 h 5143500"/>
              <a:gd name="connsiteX10" fmla="*/ 15393 w 2102290"/>
              <a:gd name="connsiteY10" fmla="*/ 5066863 h 5143500"/>
              <a:gd name="connsiteX11" fmla="*/ 108124 w 2102290"/>
              <a:gd name="connsiteY11" fmla="*/ 4634044 h 5143500"/>
              <a:gd name="connsiteX12" fmla="*/ 241424 w 2102290"/>
              <a:gd name="connsiteY12" fmla="*/ 4131974 h 5143500"/>
              <a:gd name="connsiteX13" fmla="*/ 363133 w 2102290"/>
              <a:gd name="connsiteY13" fmla="*/ 3774178 h 5143500"/>
              <a:gd name="connsiteX14" fmla="*/ 560185 w 2102290"/>
              <a:gd name="connsiteY14" fmla="*/ 3266337 h 5143500"/>
              <a:gd name="connsiteX15" fmla="*/ 699281 w 2102290"/>
              <a:gd name="connsiteY15" fmla="*/ 2943166 h 5143500"/>
              <a:gd name="connsiteX16" fmla="*/ 896333 w 2102290"/>
              <a:gd name="connsiteY16" fmla="*/ 2481493 h 5143500"/>
              <a:gd name="connsiteX17" fmla="*/ 1075998 w 2102290"/>
              <a:gd name="connsiteY17" fmla="*/ 2025591 h 5143500"/>
              <a:gd name="connsiteX18" fmla="*/ 1226685 w 2102290"/>
              <a:gd name="connsiteY18" fmla="*/ 1535063 h 5143500"/>
              <a:gd name="connsiteX19" fmla="*/ 1296233 w 2102290"/>
              <a:gd name="connsiteY19" fmla="*/ 1165725 h 5143500"/>
              <a:gd name="connsiteX20" fmla="*/ 1331007 w 2102290"/>
              <a:gd name="connsiteY20" fmla="*/ 773303 h 5143500"/>
              <a:gd name="connsiteX21" fmla="*/ 1325211 w 2102290"/>
              <a:gd name="connsiteY21" fmla="*/ 478986 h 5143500"/>
              <a:gd name="connsiteX22" fmla="*/ 1302029 w 2102290"/>
              <a:gd name="connsiteY22" fmla="*/ 259691 h 5143500"/>
              <a:gd name="connsiteX23" fmla="*/ 1261459 w 2102290"/>
              <a:gd name="connsiteY23" fmla="*/ 11542 h 5143500"/>
              <a:gd name="connsiteX24" fmla="*/ 1261459 w 2102290"/>
              <a:gd name="connsiteY24" fmla="*/ 0 h 5143500"/>
              <a:gd name="connsiteX0" fmla="*/ 1261459 w 2102290"/>
              <a:gd name="connsiteY0" fmla="*/ 0 h 5143500"/>
              <a:gd name="connsiteX1" fmla="*/ 1296233 w 2102290"/>
              <a:gd name="connsiteY1" fmla="*/ 0 h 5143500"/>
              <a:gd name="connsiteX2" fmla="*/ 1974325 w 2102290"/>
              <a:gd name="connsiteY2" fmla="*/ 0 h 5143500"/>
              <a:gd name="connsiteX3" fmla="*/ 2009099 w 2102290"/>
              <a:gd name="connsiteY3" fmla="*/ 0 h 5143500"/>
              <a:gd name="connsiteX4" fmla="*/ 2102290 w 2102290"/>
              <a:gd name="connsiteY4" fmla="*/ 0 h 5143500"/>
              <a:gd name="connsiteX5" fmla="*/ 2102290 w 2102290"/>
              <a:gd name="connsiteY5" fmla="*/ 5143500 h 5143500"/>
              <a:gd name="connsiteX6" fmla="*/ 2009099 w 2102290"/>
              <a:gd name="connsiteY6" fmla="*/ 5143500 h 5143500"/>
              <a:gd name="connsiteX7" fmla="*/ 1745423 w 2102290"/>
              <a:gd name="connsiteY7" fmla="*/ 5143500 h 5143500"/>
              <a:gd name="connsiteX8" fmla="*/ 0 w 2102290"/>
              <a:gd name="connsiteY8" fmla="*/ 5143500 h 5143500"/>
              <a:gd name="connsiteX9" fmla="*/ 15393 w 2102290"/>
              <a:gd name="connsiteY9" fmla="*/ 5066863 h 5143500"/>
              <a:gd name="connsiteX10" fmla="*/ 108124 w 2102290"/>
              <a:gd name="connsiteY10" fmla="*/ 4634044 h 5143500"/>
              <a:gd name="connsiteX11" fmla="*/ 241424 w 2102290"/>
              <a:gd name="connsiteY11" fmla="*/ 4131974 h 5143500"/>
              <a:gd name="connsiteX12" fmla="*/ 363133 w 2102290"/>
              <a:gd name="connsiteY12" fmla="*/ 3774178 h 5143500"/>
              <a:gd name="connsiteX13" fmla="*/ 560185 w 2102290"/>
              <a:gd name="connsiteY13" fmla="*/ 3266337 h 5143500"/>
              <a:gd name="connsiteX14" fmla="*/ 699281 w 2102290"/>
              <a:gd name="connsiteY14" fmla="*/ 2943166 h 5143500"/>
              <a:gd name="connsiteX15" fmla="*/ 896333 w 2102290"/>
              <a:gd name="connsiteY15" fmla="*/ 2481493 h 5143500"/>
              <a:gd name="connsiteX16" fmla="*/ 1075998 w 2102290"/>
              <a:gd name="connsiteY16" fmla="*/ 2025591 h 5143500"/>
              <a:gd name="connsiteX17" fmla="*/ 1226685 w 2102290"/>
              <a:gd name="connsiteY17" fmla="*/ 1535063 h 5143500"/>
              <a:gd name="connsiteX18" fmla="*/ 1296233 w 2102290"/>
              <a:gd name="connsiteY18" fmla="*/ 1165725 h 5143500"/>
              <a:gd name="connsiteX19" fmla="*/ 1331007 w 2102290"/>
              <a:gd name="connsiteY19" fmla="*/ 773303 h 5143500"/>
              <a:gd name="connsiteX20" fmla="*/ 1325211 w 2102290"/>
              <a:gd name="connsiteY20" fmla="*/ 478986 h 5143500"/>
              <a:gd name="connsiteX21" fmla="*/ 1302029 w 2102290"/>
              <a:gd name="connsiteY21" fmla="*/ 259691 h 5143500"/>
              <a:gd name="connsiteX22" fmla="*/ 1261459 w 2102290"/>
              <a:gd name="connsiteY22" fmla="*/ 11542 h 5143500"/>
              <a:gd name="connsiteX23" fmla="*/ 1261459 w 2102290"/>
              <a:gd name="connsiteY23" fmla="*/ 0 h 5143500"/>
              <a:gd name="connsiteX0" fmla="*/ 1261459 w 2102290"/>
              <a:gd name="connsiteY0" fmla="*/ 0 h 5143500"/>
              <a:gd name="connsiteX1" fmla="*/ 1296233 w 2102290"/>
              <a:gd name="connsiteY1" fmla="*/ 0 h 5143500"/>
              <a:gd name="connsiteX2" fmla="*/ 1974325 w 2102290"/>
              <a:gd name="connsiteY2" fmla="*/ 0 h 5143500"/>
              <a:gd name="connsiteX3" fmla="*/ 2102290 w 2102290"/>
              <a:gd name="connsiteY3" fmla="*/ 0 h 5143500"/>
              <a:gd name="connsiteX4" fmla="*/ 2102290 w 2102290"/>
              <a:gd name="connsiteY4" fmla="*/ 5143500 h 5143500"/>
              <a:gd name="connsiteX5" fmla="*/ 2009099 w 2102290"/>
              <a:gd name="connsiteY5" fmla="*/ 5143500 h 5143500"/>
              <a:gd name="connsiteX6" fmla="*/ 1745423 w 2102290"/>
              <a:gd name="connsiteY6" fmla="*/ 5143500 h 5143500"/>
              <a:gd name="connsiteX7" fmla="*/ 0 w 2102290"/>
              <a:gd name="connsiteY7" fmla="*/ 5143500 h 5143500"/>
              <a:gd name="connsiteX8" fmla="*/ 15393 w 2102290"/>
              <a:gd name="connsiteY8" fmla="*/ 5066863 h 5143500"/>
              <a:gd name="connsiteX9" fmla="*/ 108124 w 2102290"/>
              <a:gd name="connsiteY9" fmla="*/ 4634044 h 5143500"/>
              <a:gd name="connsiteX10" fmla="*/ 241424 w 2102290"/>
              <a:gd name="connsiteY10" fmla="*/ 4131974 h 5143500"/>
              <a:gd name="connsiteX11" fmla="*/ 363133 w 2102290"/>
              <a:gd name="connsiteY11" fmla="*/ 3774178 h 5143500"/>
              <a:gd name="connsiteX12" fmla="*/ 560185 w 2102290"/>
              <a:gd name="connsiteY12" fmla="*/ 3266337 h 5143500"/>
              <a:gd name="connsiteX13" fmla="*/ 699281 w 2102290"/>
              <a:gd name="connsiteY13" fmla="*/ 2943166 h 5143500"/>
              <a:gd name="connsiteX14" fmla="*/ 896333 w 2102290"/>
              <a:gd name="connsiteY14" fmla="*/ 2481493 h 5143500"/>
              <a:gd name="connsiteX15" fmla="*/ 1075998 w 2102290"/>
              <a:gd name="connsiteY15" fmla="*/ 2025591 h 5143500"/>
              <a:gd name="connsiteX16" fmla="*/ 1226685 w 2102290"/>
              <a:gd name="connsiteY16" fmla="*/ 1535063 h 5143500"/>
              <a:gd name="connsiteX17" fmla="*/ 1296233 w 2102290"/>
              <a:gd name="connsiteY17" fmla="*/ 1165725 h 5143500"/>
              <a:gd name="connsiteX18" fmla="*/ 1331007 w 2102290"/>
              <a:gd name="connsiteY18" fmla="*/ 773303 h 5143500"/>
              <a:gd name="connsiteX19" fmla="*/ 1325211 w 2102290"/>
              <a:gd name="connsiteY19" fmla="*/ 478986 h 5143500"/>
              <a:gd name="connsiteX20" fmla="*/ 1302029 w 2102290"/>
              <a:gd name="connsiteY20" fmla="*/ 259691 h 5143500"/>
              <a:gd name="connsiteX21" fmla="*/ 1261459 w 2102290"/>
              <a:gd name="connsiteY21" fmla="*/ 11542 h 5143500"/>
              <a:gd name="connsiteX22" fmla="*/ 1261459 w 2102290"/>
              <a:gd name="connsiteY22"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2009099 w 2102290"/>
              <a:gd name="connsiteY4" fmla="*/ 5143500 h 5143500"/>
              <a:gd name="connsiteX5" fmla="*/ 1745423 w 2102290"/>
              <a:gd name="connsiteY5" fmla="*/ 5143500 h 5143500"/>
              <a:gd name="connsiteX6" fmla="*/ 0 w 2102290"/>
              <a:gd name="connsiteY6" fmla="*/ 5143500 h 5143500"/>
              <a:gd name="connsiteX7" fmla="*/ 15393 w 2102290"/>
              <a:gd name="connsiteY7" fmla="*/ 5066863 h 5143500"/>
              <a:gd name="connsiteX8" fmla="*/ 108124 w 2102290"/>
              <a:gd name="connsiteY8" fmla="*/ 4634044 h 5143500"/>
              <a:gd name="connsiteX9" fmla="*/ 241424 w 2102290"/>
              <a:gd name="connsiteY9" fmla="*/ 4131974 h 5143500"/>
              <a:gd name="connsiteX10" fmla="*/ 363133 w 2102290"/>
              <a:gd name="connsiteY10" fmla="*/ 3774178 h 5143500"/>
              <a:gd name="connsiteX11" fmla="*/ 560185 w 2102290"/>
              <a:gd name="connsiteY11" fmla="*/ 3266337 h 5143500"/>
              <a:gd name="connsiteX12" fmla="*/ 699281 w 2102290"/>
              <a:gd name="connsiteY12" fmla="*/ 2943166 h 5143500"/>
              <a:gd name="connsiteX13" fmla="*/ 896333 w 2102290"/>
              <a:gd name="connsiteY13" fmla="*/ 2481493 h 5143500"/>
              <a:gd name="connsiteX14" fmla="*/ 1075998 w 2102290"/>
              <a:gd name="connsiteY14" fmla="*/ 2025591 h 5143500"/>
              <a:gd name="connsiteX15" fmla="*/ 1226685 w 2102290"/>
              <a:gd name="connsiteY15" fmla="*/ 1535063 h 5143500"/>
              <a:gd name="connsiteX16" fmla="*/ 1296233 w 2102290"/>
              <a:gd name="connsiteY16" fmla="*/ 1165725 h 5143500"/>
              <a:gd name="connsiteX17" fmla="*/ 1331007 w 2102290"/>
              <a:gd name="connsiteY17" fmla="*/ 773303 h 5143500"/>
              <a:gd name="connsiteX18" fmla="*/ 1325211 w 2102290"/>
              <a:gd name="connsiteY18" fmla="*/ 478986 h 5143500"/>
              <a:gd name="connsiteX19" fmla="*/ 1302029 w 2102290"/>
              <a:gd name="connsiteY19" fmla="*/ 259691 h 5143500"/>
              <a:gd name="connsiteX20" fmla="*/ 1261459 w 2102290"/>
              <a:gd name="connsiteY20" fmla="*/ 11542 h 5143500"/>
              <a:gd name="connsiteX21" fmla="*/ 1261459 w 2102290"/>
              <a:gd name="connsiteY21"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2009099 w 2102290"/>
              <a:gd name="connsiteY4" fmla="*/ 5143500 h 5143500"/>
              <a:gd name="connsiteX5" fmla="*/ 0 w 2102290"/>
              <a:gd name="connsiteY5" fmla="*/ 5143500 h 5143500"/>
              <a:gd name="connsiteX6" fmla="*/ 15393 w 2102290"/>
              <a:gd name="connsiteY6" fmla="*/ 5066863 h 5143500"/>
              <a:gd name="connsiteX7" fmla="*/ 108124 w 2102290"/>
              <a:gd name="connsiteY7" fmla="*/ 4634044 h 5143500"/>
              <a:gd name="connsiteX8" fmla="*/ 241424 w 2102290"/>
              <a:gd name="connsiteY8" fmla="*/ 4131974 h 5143500"/>
              <a:gd name="connsiteX9" fmla="*/ 363133 w 2102290"/>
              <a:gd name="connsiteY9" fmla="*/ 3774178 h 5143500"/>
              <a:gd name="connsiteX10" fmla="*/ 560185 w 2102290"/>
              <a:gd name="connsiteY10" fmla="*/ 3266337 h 5143500"/>
              <a:gd name="connsiteX11" fmla="*/ 699281 w 2102290"/>
              <a:gd name="connsiteY11" fmla="*/ 2943166 h 5143500"/>
              <a:gd name="connsiteX12" fmla="*/ 896333 w 2102290"/>
              <a:gd name="connsiteY12" fmla="*/ 2481493 h 5143500"/>
              <a:gd name="connsiteX13" fmla="*/ 1075998 w 2102290"/>
              <a:gd name="connsiteY13" fmla="*/ 2025591 h 5143500"/>
              <a:gd name="connsiteX14" fmla="*/ 1226685 w 2102290"/>
              <a:gd name="connsiteY14" fmla="*/ 1535063 h 5143500"/>
              <a:gd name="connsiteX15" fmla="*/ 1296233 w 2102290"/>
              <a:gd name="connsiteY15" fmla="*/ 1165725 h 5143500"/>
              <a:gd name="connsiteX16" fmla="*/ 1331007 w 2102290"/>
              <a:gd name="connsiteY16" fmla="*/ 773303 h 5143500"/>
              <a:gd name="connsiteX17" fmla="*/ 1325211 w 2102290"/>
              <a:gd name="connsiteY17" fmla="*/ 478986 h 5143500"/>
              <a:gd name="connsiteX18" fmla="*/ 1302029 w 2102290"/>
              <a:gd name="connsiteY18" fmla="*/ 259691 h 5143500"/>
              <a:gd name="connsiteX19" fmla="*/ 1261459 w 2102290"/>
              <a:gd name="connsiteY19" fmla="*/ 11542 h 5143500"/>
              <a:gd name="connsiteX20" fmla="*/ 1261459 w 2102290"/>
              <a:gd name="connsiteY20" fmla="*/ 0 h 5143500"/>
              <a:gd name="connsiteX0" fmla="*/ 1261459 w 2102290"/>
              <a:gd name="connsiteY0" fmla="*/ 0 h 5143500"/>
              <a:gd name="connsiteX1" fmla="*/ 1296233 w 2102290"/>
              <a:gd name="connsiteY1" fmla="*/ 0 h 5143500"/>
              <a:gd name="connsiteX2" fmla="*/ 2102290 w 2102290"/>
              <a:gd name="connsiteY2" fmla="*/ 0 h 5143500"/>
              <a:gd name="connsiteX3" fmla="*/ 2102290 w 2102290"/>
              <a:gd name="connsiteY3" fmla="*/ 5143500 h 5143500"/>
              <a:gd name="connsiteX4" fmla="*/ 0 w 2102290"/>
              <a:gd name="connsiteY4" fmla="*/ 5143500 h 5143500"/>
              <a:gd name="connsiteX5" fmla="*/ 15393 w 2102290"/>
              <a:gd name="connsiteY5" fmla="*/ 5066863 h 5143500"/>
              <a:gd name="connsiteX6" fmla="*/ 108124 w 2102290"/>
              <a:gd name="connsiteY6" fmla="*/ 4634044 h 5143500"/>
              <a:gd name="connsiteX7" fmla="*/ 241424 w 2102290"/>
              <a:gd name="connsiteY7" fmla="*/ 4131974 h 5143500"/>
              <a:gd name="connsiteX8" fmla="*/ 363133 w 2102290"/>
              <a:gd name="connsiteY8" fmla="*/ 3774178 h 5143500"/>
              <a:gd name="connsiteX9" fmla="*/ 560185 w 2102290"/>
              <a:gd name="connsiteY9" fmla="*/ 3266337 h 5143500"/>
              <a:gd name="connsiteX10" fmla="*/ 699281 w 2102290"/>
              <a:gd name="connsiteY10" fmla="*/ 2943166 h 5143500"/>
              <a:gd name="connsiteX11" fmla="*/ 896333 w 2102290"/>
              <a:gd name="connsiteY11" fmla="*/ 2481493 h 5143500"/>
              <a:gd name="connsiteX12" fmla="*/ 1075998 w 2102290"/>
              <a:gd name="connsiteY12" fmla="*/ 2025591 h 5143500"/>
              <a:gd name="connsiteX13" fmla="*/ 1226685 w 2102290"/>
              <a:gd name="connsiteY13" fmla="*/ 1535063 h 5143500"/>
              <a:gd name="connsiteX14" fmla="*/ 1296233 w 2102290"/>
              <a:gd name="connsiteY14" fmla="*/ 1165725 h 5143500"/>
              <a:gd name="connsiteX15" fmla="*/ 1331007 w 2102290"/>
              <a:gd name="connsiteY15" fmla="*/ 773303 h 5143500"/>
              <a:gd name="connsiteX16" fmla="*/ 1325211 w 2102290"/>
              <a:gd name="connsiteY16" fmla="*/ 478986 h 5143500"/>
              <a:gd name="connsiteX17" fmla="*/ 1302029 w 2102290"/>
              <a:gd name="connsiteY17" fmla="*/ 259691 h 5143500"/>
              <a:gd name="connsiteX18" fmla="*/ 1261459 w 2102290"/>
              <a:gd name="connsiteY18" fmla="*/ 11542 h 5143500"/>
              <a:gd name="connsiteX19" fmla="*/ 1261459 w 2102290"/>
              <a:gd name="connsiteY19"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02290" h="5143500">
                <a:moveTo>
                  <a:pt x="1261459" y="0"/>
                </a:moveTo>
                <a:lnTo>
                  <a:pt x="1296233" y="0"/>
                </a:lnTo>
                <a:lnTo>
                  <a:pt x="2102290" y="0"/>
                </a:lnTo>
                <a:lnTo>
                  <a:pt x="2102290" y="5143500"/>
                </a:lnTo>
                <a:lnTo>
                  <a:pt x="0" y="5143500"/>
                </a:lnTo>
                <a:lnTo>
                  <a:pt x="15393" y="5066863"/>
                </a:lnTo>
                <a:cubicBezTo>
                  <a:pt x="44372" y="4922590"/>
                  <a:pt x="73350" y="4778317"/>
                  <a:pt x="108124" y="4634044"/>
                </a:cubicBezTo>
                <a:cubicBezTo>
                  <a:pt x="148693" y="4466688"/>
                  <a:pt x="195059" y="4299331"/>
                  <a:pt x="241424" y="4131974"/>
                </a:cubicBezTo>
                <a:cubicBezTo>
                  <a:pt x="276198" y="4010785"/>
                  <a:pt x="322563" y="3889596"/>
                  <a:pt x="363133" y="3774178"/>
                </a:cubicBezTo>
                <a:cubicBezTo>
                  <a:pt x="426885" y="3601050"/>
                  <a:pt x="496433" y="3433694"/>
                  <a:pt x="560185" y="3266337"/>
                </a:cubicBezTo>
                <a:cubicBezTo>
                  <a:pt x="606550" y="3156690"/>
                  <a:pt x="652915" y="3052814"/>
                  <a:pt x="699281" y="2943166"/>
                </a:cubicBezTo>
                <a:cubicBezTo>
                  <a:pt x="763033" y="2793122"/>
                  <a:pt x="832581" y="2637308"/>
                  <a:pt x="896333" y="2481493"/>
                </a:cubicBezTo>
                <a:cubicBezTo>
                  <a:pt x="960085" y="2331450"/>
                  <a:pt x="1023838" y="2181406"/>
                  <a:pt x="1075998" y="2025591"/>
                </a:cubicBezTo>
                <a:cubicBezTo>
                  <a:pt x="1133955" y="1864005"/>
                  <a:pt x="1180320" y="1702420"/>
                  <a:pt x="1226685" y="1535063"/>
                </a:cubicBezTo>
                <a:cubicBezTo>
                  <a:pt x="1255664" y="1413874"/>
                  <a:pt x="1284642" y="1292685"/>
                  <a:pt x="1296233" y="1165725"/>
                </a:cubicBezTo>
                <a:cubicBezTo>
                  <a:pt x="1319416" y="1032994"/>
                  <a:pt x="1325211" y="906034"/>
                  <a:pt x="1331007" y="773303"/>
                </a:cubicBezTo>
                <a:cubicBezTo>
                  <a:pt x="1336803" y="675197"/>
                  <a:pt x="1331007" y="577091"/>
                  <a:pt x="1325211" y="478986"/>
                </a:cubicBezTo>
                <a:cubicBezTo>
                  <a:pt x="1319416" y="403964"/>
                  <a:pt x="1313620" y="328942"/>
                  <a:pt x="1302029" y="259691"/>
                </a:cubicBezTo>
                <a:cubicBezTo>
                  <a:pt x="1290437" y="178898"/>
                  <a:pt x="1273051" y="98106"/>
                  <a:pt x="1261459" y="11542"/>
                </a:cubicBezTo>
                <a:cubicBezTo>
                  <a:pt x="1255664" y="11542"/>
                  <a:pt x="1261459" y="5771"/>
                  <a:pt x="1261459" y="0"/>
                </a:cubicBezTo>
                <a:close/>
              </a:path>
            </a:pathLst>
          </a:custGeom>
          <a:solidFill>
            <a:schemeClr val="accent1"/>
          </a:solidFill>
          <a:ln>
            <a:noFill/>
          </a:ln>
        </p:spPr>
        <p:txBody>
          <a:bodyPr vert="horz" wrap="square" lIns="121920" tIns="60960" rIns="121920" bIns="60960" numCol="1" anchor="t" anchorCtr="0" compatLnSpc="1">
            <a:prstTxWarp prst="textNoShape">
              <a:avLst/>
            </a:prstTxWarp>
            <a:noAutofit/>
          </a:bodyPr>
          <a:lstStyle/>
          <a:p>
            <a:endParaRPr lang="en-BE" sz="2400"/>
          </a:p>
        </p:txBody>
      </p:sp>
      <p:sp>
        <p:nvSpPr>
          <p:cNvPr id="5" name="TextBox 4">
            <a:extLst>
              <a:ext uri="{FF2B5EF4-FFF2-40B4-BE49-F238E27FC236}">
                <a16:creationId xmlns:a16="http://schemas.microsoft.com/office/drawing/2014/main" id="{7A8A3B05-B230-B444-9DE8-05B1E2D904CD}"/>
              </a:ext>
            </a:extLst>
          </p:cNvPr>
          <p:cNvSpPr txBox="1"/>
          <p:nvPr userDrawn="1"/>
        </p:nvSpPr>
        <p:spPr>
          <a:xfrm>
            <a:off x="1667146" y="527595"/>
            <a:ext cx="1935793" cy="4195892"/>
          </a:xfrm>
          <a:prstGeom prst="rect">
            <a:avLst/>
          </a:prstGeom>
          <a:noFill/>
        </p:spPr>
        <p:txBody>
          <a:bodyPr wrap="square" rtlCol="0">
            <a:spAutoFit/>
          </a:bodyPr>
          <a:lstStyle/>
          <a:p>
            <a:r>
              <a:rPr lang="nl-BE" sz="26666" dirty="0">
                <a:solidFill>
                  <a:schemeClr val="bg2"/>
                </a:solidFill>
                <a:latin typeface="Crank 8 Plus Two" panose="02000506030000020004" pitchFamily="50" charset="0"/>
              </a:rPr>
              <a:t>“</a:t>
            </a:r>
            <a:endParaRPr sz="26666" dirty="0">
              <a:solidFill>
                <a:schemeClr val="bg2"/>
              </a:solidFill>
              <a:latin typeface="Crank 8 Plus Two" panose="02000506030000020004" pitchFamily="50" charset="0"/>
            </a:endParaRPr>
          </a:p>
        </p:txBody>
      </p:sp>
      <p:sp>
        <p:nvSpPr>
          <p:cNvPr id="3" name="Tijdelijke aanduiding voor tekst 8">
            <a:extLst>
              <a:ext uri="{FF2B5EF4-FFF2-40B4-BE49-F238E27FC236}">
                <a16:creationId xmlns:a16="http://schemas.microsoft.com/office/drawing/2014/main" id="{71352867-BBEE-A34C-86B7-91E8EB376124}"/>
              </a:ext>
            </a:extLst>
          </p:cNvPr>
          <p:cNvSpPr>
            <a:spLocks noGrp="1" noChangeAspect="1"/>
          </p:cNvSpPr>
          <p:nvPr>
            <p:ph type="body" sz="quarter" idx="10" hasCustomPrompt="1"/>
          </p:nvPr>
        </p:nvSpPr>
        <p:spPr>
          <a:xfrm>
            <a:off x="3265619" y="2556402"/>
            <a:ext cx="7707181" cy="1489457"/>
          </a:xfrm>
          <a:prstGeom prst="rect">
            <a:avLst/>
          </a:prstGeom>
        </p:spPr>
        <p:txBody>
          <a:bodyPr lIns="0" tIns="0" rIns="0" bIns="0">
            <a:noAutofit/>
          </a:bodyPr>
          <a:lstStyle>
            <a:lvl1pPr marL="0" marR="0" indent="0" algn="l" defTabSz="609585" rtl="0" eaLnBrk="1" fontAlgn="auto" latinLnBrk="0" hangingPunct="1">
              <a:lnSpc>
                <a:spcPct val="100000"/>
              </a:lnSpc>
              <a:spcBef>
                <a:spcPct val="20000"/>
              </a:spcBef>
              <a:spcAft>
                <a:spcPts val="0"/>
              </a:spcAft>
              <a:buClr>
                <a:schemeClr val="accent1"/>
              </a:buClr>
              <a:buSzTx/>
              <a:buFont typeface="LucidaGrande" charset="0"/>
              <a:buNone/>
              <a:tabLst/>
              <a:defRPr sz="2400" b="0" i="0" kern="0" baseline="0">
                <a:solidFill>
                  <a:schemeClr val="tx2"/>
                </a:solidFill>
                <a:latin typeface="+mn-lt"/>
              </a:defRPr>
            </a:lvl1pPr>
          </a:lstStyle>
          <a:p>
            <a:pPr lvl="0"/>
            <a:r>
              <a:rPr lang="nl-BE" dirty="0"/>
              <a:t>Klik hier om een inspirerende quote toe te voegen.</a:t>
            </a:r>
          </a:p>
          <a:p>
            <a:pPr lvl="0"/>
            <a:endParaRPr lang="nl-BE" dirty="0"/>
          </a:p>
          <a:p>
            <a:pPr lvl="0"/>
            <a:endParaRPr lang="nl-BE" dirty="0"/>
          </a:p>
        </p:txBody>
      </p:sp>
      <p:sp>
        <p:nvSpPr>
          <p:cNvPr id="4" name="Tijdelijke aanduiding voor tekst 8">
            <a:extLst>
              <a:ext uri="{FF2B5EF4-FFF2-40B4-BE49-F238E27FC236}">
                <a16:creationId xmlns:a16="http://schemas.microsoft.com/office/drawing/2014/main" id="{7DC26D2E-9645-D443-BBCD-1635C7754FF4}"/>
              </a:ext>
            </a:extLst>
          </p:cNvPr>
          <p:cNvSpPr>
            <a:spLocks noGrp="1" noChangeAspect="1"/>
          </p:cNvSpPr>
          <p:nvPr>
            <p:ph type="body" sz="quarter" idx="11" hasCustomPrompt="1"/>
          </p:nvPr>
        </p:nvSpPr>
        <p:spPr>
          <a:xfrm>
            <a:off x="3244643" y="4373610"/>
            <a:ext cx="7733877" cy="314135"/>
          </a:xfrm>
          <a:prstGeom prst="rect">
            <a:avLst/>
          </a:prstGeom>
        </p:spPr>
        <p:txBody>
          <a:bodyPr lIns="0" tIns="0" rIns="0" bIns="0">
            <a:noAutofit/>
          </a:bodyPr>
          <a:lstStyle>
            <a:lvl1pPr marL="0" marR="0" indent="0" algn="l" defTabSz="609585" rtl="0" eaLnBrk="1" fontAlgn="auto" latinLnBrk="0" hangingPunct="1">
              <a:lnSpc>
                <a:spcPct val="100000"/>
              </a:lnSpc>
              <a:spcBef>
                <a:spcPct val="20000"/>
              </a:spcBef>
              <a:spcAft>
                <a:spcPts val="0"/>
              </a:spcAft>
              <a:buClr>
                <a:schemeClr val="accent1"/>
              </a:buClr>
              <a:buSzTx/>
              <a:buFont typeface="LucidaGrande" charset="0"/>
              <a:buNone/>
              <a:tabLst/>
              <a:defRPr sz="1600" b="0" i="0" kern="0" baseline="0">
                <a:solidFill>
                  <a:schemeClr val="tx2">
                    <a:lumMod val="60000"/>
                    <a:lumOff val="40000"/>
                  </a:schemeClr>
                </a:solidFill>
                <a:latin typeface="+mn-lt"/>
              </a:defRPr>
            </a:lvl1pPr>
          </a:lstStyle>
          <a:p>
            <a:pPr lvl="0"/>
            <a:r>
              <a:rPr lang="nl-BE" dirty="0"/>
              <a:t>Bronvermelding</a:t>
            </a:r>
          </a:p>
          <a:p>
            <a:pPr marL="457189" marR="0" lvl="0" indent="-457189" algn="l" defTabSz="609585" rtl="0" eaLnBrk="1" fontAlgn="auto" latinLnBrk="0" hangingPunct="1">
              <a:lnSpc>
                <a:spcPct val="100000"/>
              </a:lnSpc>
              <a:spcBef>
                <a:spcPct val="20000"/>
              </a:spcBef>
              <a:spcAft>
                <a:spcPts val="0"/>
              </a:spcAft>
              <a:buClr>
                <a:schemeClr val="accent1"/>
              </a:buClr>
              <a:buSzTx/>
              <a:buFont typeface="LucidaGrande" charset="0"/>
              <a:buChar char="●"/>
              <a:tabLst/>
              <a:defRPr/>
            </a:pPr>
            <a:endParaRPr lang="nl-BE" dirty="0"/>
          </a:p>
          <a:p>
            <a:pPr lvl="0"/>
            <a:endParaRPr lang="nl-BE" dirty="0"/>
          </a:p>
          <a:p>
            <a:pPr lvl="0"/>
            <a:endParaRPr lang="nl-BE" dirty="0"/>
          </a:p>
        </p:txBody>
      </p:sp>
      <p:grpSp>
        <p:nvGrpSpPr>
          <p:cNvPr id="17" name="Graphic 6">
            <a:extLst>
              <a:ext uri="{FF2B5EF4-FFF2-40B4-BE49-F238E27FC236}">
                <a16:creationId xmlns:a16="http://schemas.microsoft.com/office/drawing/2014/main" id="{2AD69C1C-CD6A-4322-96C0-8F1BAD9C497B}"/>
              </a:ext>
            </a:extLst>
          </p:cNvPr>
          <p:cNvGrpSpPr>
            <a:grpSpLocks noChangeAspect="1"/>
          </p:cNvGrpSpPr>
          <p:nvPr userDrawn="1"/>
        </p:nvGrpSpPr>
        <p:grpSpPr>
          <a:xfrm>
            <a:off x="650401" y="5731006"/>
            <a:ext cx="1603572" cy="475823"/>
            <a:chOff x="1454943" y="1645443"/>
            <a:chExt cx="6227445" cy="1847850"/>
          </a:xfrm>
          <a:solidFill>
            <a:schemeClr val="bg1"/>
          </a:solidFill>
        </p:grpSpPr>
        <p:sp>
          <p:nvSpPr>
            <p:cNvPr id="19" name="Freeform: Shape 18">
              <a:extLst>
                <a:ext uri="{FF2B5EF4-FFF2-40B4-BE49-F238E27FC236}">
                  <a16:creationId xmlns:a16="http://schemas.microsoft.com/office/drawing/2014/main" id="{B2A5029C-137D-4A77-BD38-FDD33EC0D4EC}"/>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51B8FA81-860D-4FDE-A60F-3440C303C03E}"/>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20937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over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913E06-C400-4857-91C6-30C91356D11B}"/>
              </a:ext>
            </a:extLst>
          </p:cNvPr>
          <p:cNvSpPr/>
          <p:nvPr userDrawn="1"/>
        </p:nvSpPr>
        <p:spPr bwMode="auto">
          <a:xfrm>
            <a:off x="0" y="1016001"/>
            <a:ext cx="12192000" cy="5841999"/>
          </a:xfrm>
          <a:custGeom>
            <a:avLst/>
            <a:gdLst>
              <a:gd name="connsiteX0" fmla="*/ 0 w 9144000"/>
              <a:gd name="connsiteY0" fmla="*/ 0 h 4381499"/>
              <a:gd name="connsiteX1" fmla="*/ 9144000 w 9144000"/>
              <a:gd name="connsiteY1" fmla="*/ 0 h 4381499"/>
              <a:gd name="connsiteX2" fmla="*/ 9144000 w 9144000"/>
              <a:gd name="connsiteY2" fmla="*/ 4381499 h 4381499"/>
              <a:gd name="connsiteX3" fmla="*/ 0 w 9144000"/>
              <a:gd name="connsiteY3" fmla="*/ 4381499 h 4381499"/>
              <a:gd name="connsiteX4" fmla="*/ 0 w 9144000"/>
              <a:gd name="connsiteY4" fmla="*/ 0 h 4381499"/>
              <a:gd name="connsiteX0" fmla="*/ 0 w 9144000"/>
              <a:gd name="connsiteY0" fmla="*/ 6350 h 4387849"/>
              <a:gd name="connsiteX1" fmla="*/ 5194300 w 9144000"/>
              <a:gd name="connsiteY1" fmla="*/ 0 h 4387849"/>
              <a:gd name="connsiteX2" fmla="*/ 9144000 w 9144000"/>
              <a:gd name="connsiteY2" fmla="*/ 6350 h 4387849"/>
              <a:gd name="connsiteX3" fmla="*/ 9144000 w 9144000"/>
              <a:gd name="connsiteY3" fmla="*/ 4387849 h 4387849"/>
              <a:gd name="connsiteX4" fmla="*/ 0 w 9144000"/>
              <a:gd name="connsiteY4" fmla="*/ 4387849 h 4387849"/>
              <a:gd name="connsiteX5" fmla="*/ 0 w 9144000"/>
              <a:gd name="connsiteY5" fmla="*/ 6350 h 4387849"/>
              <a:gd name="connsiteX0" fmla="*/ 0 w 9144000"/>
              <a:gd name="connsiteY0" fmla="*/ 0 h 4381499"/>
              <a:gd name="connsiteX1" fmla="*/ 5238750 w 9144000"/>
              <a:gd name="connsiteY1" fmla="*/ 171450 h 4381499"/>
              <a:gd name="connsiteX2" fmla="*/ 9144000 w 9144000"/>
              <a:gd name="connsiteY2" fmla="*/ 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35417 h 4416916"/>
              <a:gd name="connsiteX1" fmla="*/ 5238750 w 9144000"/>
              <a:gd name="connsiteY1" fmla="*/ 206867 h 4416916"/>
              <a:gd name="connsiteX2" fmla="*/ 9144000 w 9144000"/>
              <a:gd name="connsiteY2" fmla="*/ 3541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35417 h 4416916"/>
              <a:gd name="connsiteX3" fmla="*/ 9144000 w 9144000"/>
              <a:gd name="connsiteY3" fmla="*/ 854567 h 4416916"/>
              <a:gd name="connsiteX4" fmla="*/ 9144000 w 9144000"/>
              <a:gd name="connsiteY4" fmla="*/ 4416916 h 4416916"/>
              <a:gd name="connsiteX5" fmla="*/ 0 w 9144000"/>
              <a:gd name="connsiteY5" fmla="*/ 4416916 h 4416916"/>
              <a:gd name="connsiteX6" fmla="*/ 0 w 9144000"/>
              <a:gd name="connsiteY6"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35417 h 4416916"/>
              <a:gd name="connsiteX1" fmla="*/ 5238750 w 9144000"/>
              <a:gd name="connsiteY1" fmla="*/ 206867 h 4416916"/>
              <a:gd name="connsiteX2" fmla="*/ 9144000 w 9144000"/>
              <a:gd name="connsiteY2" fmla="*/ 854567 h 4416916"/>
              <a:gd name="connsiteX3" fmla="*/ 9144000 w 9144000"/>
              <a:gd name="connsiteY3" fmla="*/ 4416916 h 4416916"/>
              <a:gd name="connsiteX4" fmla="*/ 0 w 9144000"/>
              <a:gd name="connsiteY4" fmla="*/ 4416916 h 4416916"/>
              <a:gd name="connsiteX5" fmla="*/ 0 w 9144000"/>
              <a:gd name="connsiteY5" fmla="*/ 35417 h 4416916"/>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 name="connsiteX0" fmla="*/ 0 w 9144000"/>
              <a:gd name="connsiteY0" fmla="*/ 0 h 4381499"/>
              <a:gd name="connsiteX1" fmla="*/ 5238750 w 9144000"/>
              <a:gd name="connsiteY1" fmla="*/ 171450 h 4381499"/>
              <a:gd name="connsiteX2" fmla="*/ 9144000 w 9144000"/>
              <a:gd name="connsiteY2" fmla="*/ 819150 h 4381499"/>
              <a:gd name="connsiteX3" fmla="*/ 9144000 w 9144000"/>
              <a:gd name="connsiteY3" fmla="*/ 4381499 h 4381499"/>
              <a:gd name="connsiteX4" fmla="*/ 0 w 9144000"/>
              <a:gd name="connsiteY4" fmla="*/ 4381499 h 4381499"/>
              <a:gd name="connsiteX5" fmla="*/ 0 w 9144000"/>
              <a:gd name="connsiteY5" fmla="*/ 0 h 4381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4381499">
                <a:moveTo>
                  <a:pt x="0" y="0"/>
                </a:moveTo>
                <a:cubicBezTo>
                  <a:pt x="1073150" y="819150"/>
                  <a:pt x="4362450" y="-311150"/>
                  <a:pt x="5238750" y="171450"/>
                </a:cubicBezTo>
                <a:cubicBezTo>
                  <a:pt x="6819900" y="863600"/>
                  <a:pt x="7861300" y="838200"/>
                  <a:pt x="9144000" y="819150"/>
                </a:cubicBezTo>
                <a:lnTo>
                  <a:pt x="9144000" y="4381499"/>
                </a:lnTo>
                <a:lnTo>
                  <a:pt x="0" y="4381499"/>
                </a:lnTo>
                <a:lnTo>
                  <a:pt x="0" y="0"/>
                </a:ln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grpSp>
        <p:nvGrpSpPr>
          <p:cNvPr id="9" name="Group 8">
            <a:extLst>
              <a:ext uri="{FF2B5EF4-FFF2-40B4-BE49-F238E27FC236}">
                <a16:creationId xmlns:a16="http://schemas.microsoft.com/office/drawing/2014/main" id="{90DE54BD-379C-404C-8137-33FD00FF0AD6}"/>
              </a:ext>
            </a:extLst>
          </p:cNvPr>
          <p:cNvGrpSpPr/>
          <p:nvPr userDrawn="1"/>
        </p:nvGrpSpPr>
        <p:grpSpPr>
          <a:xfrm>
            <a:off x="0" y="0"/>
            <a:ext cx="12192000" cy="5356800"/>
            <a:chOff x="0" y="0"/>
            <a:chExt cx="9144000" cy="4017600"/>
          </a:xfrm>
        </p:grpSpPr>
        <p:sp>
          <p:nvSpPr>
            <p:cNvPr id="33" name="Freeform: Shape 32">
              <a:extLst>
                <a:ext uri="{FF2B5EF4-FFF2-40B4-BE49-F238E27FC236}">
                  <a16:creationId xmlns:a16="http://schemas.microsoft.com/office/drawing/2014/main" id="{D782037D-8486-4AA8-B70D-EDFC0530AD01}"/>
                </a:ext>
              </a:extLst>
            </p:cNvPr>
            <p:cNvSpPr/>
            <p:nvPr userDrawn="1"/>
          </p:nvSpPr>
          <p:spPr bwMode="auto">
            <a:xfrm>
              <a:off x="5245354" y="0"/>
              <a:ext cx="3898646" cy="4017600"/>
            </a:xfrm>
            <a:custGeom>
              <a:avLst/>
              <a:gdLst>
                <a:gd name="connsiteX0" fmla="*/ 3898646 w 3898646"/>
                <a:gd name="connsiteY0" fmla="*/ 0 h 4017600"/>
                <a:gd name="connsiteX1" fmla="*/ 3898646 w 3898646"/>
                <a:gd name="connsiteY1" fmla="*/ 4017600 h 4017600"/>
                <a:gd name="connsiteX2" fmla="*/ 3898643 w 3898646"/>
                <a:gd name="connsiteY2" fmla="*/ 4017600 h 4017600"/>
                <a:gd name="connsiteX3" fmla="*/ 3698403 w 3898646"/>
                <a:gd name="connsiteY3" fmla="*/ 3902150 h 4017600"/>
                <a:gd name="connsiteX4" fmla="*/ 2387345 w 3898646"/>
                <a:gd name="connsiteY4" fmla="*/ 3187701 h 4017600"/>
                <a:gd name="connsiteX5" fmla="*/ 1136395 w 3898646"/>
                <a:gd name="connsiteY5" fmla="*/ 2413001 h 4017600"/>
                <a:gd name="connsiteX6" fmla="*/ 70510 w 3898646"/>
                <a:gd name="connsiteY6" fmla="*/ 1072692 h 4017600"/>
                <a:gd name="connsiteX7" fmla="*/ 0 w 3898646"/>
                <a:gd name="connsiteY7" fmla="*/ 933808 h 4017600"/>
                <a:gd name="connsiteX8" fmla="*/ 350757 w 3898646"/>
                <a:gd name="connsiteY8" fmla="*/ 1076011 h 4017600"/>
                <a:gd name="connsiteX9" fmla="*/ 3501008 w 3898646"/>
                <a:gd name="connsiteY9" fmla="*/ 1592943 h 4017600"/>
                <a:gd name="connsiteX10" fmla="*/ 3898645 w 3898646"/>
                <a:gd name="connsiteY10" fmla="*/ 1585912 h 4017600"/>
                <a:gd name="connsiteX11" fmla="*/ 3898646 w 3898646"/>
                <a:gd name="connsiteY11" fmla="*/ 0 h 40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98646" h="4017600">
                  <a:moveTo>
                    <a:pt x="3898646" y="0"/>
                  </a:moveTo>
                  <a:lnTo>
                    <a:pt x="3898646" y="4017600"/>
                  </a:lnTo>
                  <a:lnTo>
                    <a:pt x="3898643" y="4017600"/>
                  </a:lnTo>
                  <a:lnTo>
                    <a:pt x="3698403" y="3902150"/>
                  </a:lnTo>
                  <a:cubicBezTo>
                    <a:pt x="3249027" y="3646050"/>
                    <a:pt x="2910558" y="3473564"/>
                    <a:pt x="2387345" y="3187701"/>
                  </a:cubicBezTo>
                  <a:cubicBezTo>
                    <a:pt x="1936495" y="2933701"/>
                    <a:pt x="1741184" y="2880205"/>
                    <a:pt x="1136395" y="2413001"/>
                  </a:cubicBezTo>
                  <a:cubicBezTo>
                    <a:pt x="803635" y="2155941"/>
                    <a:pt x="389991" y="1648872"/>
                    <a:pt x="70510" y="1072692"/>
                  </a:cubicBezTo>
                  <a:lnTo>
                    <a:pt x="0" y="933808"/>
                  </a:lnTo>
                  <a:lnTo>
                    <a:pt x="350757" y="1076011"/>
                  </a:lnTo>
                  <a:cubicBezTo>
                    <a:pt x="1179822" y="1404936"/>
                    <a:pt x="1865187" y="1600790"/>
                    <a:pt x="3501008" y="1592943"/>
                  </a:cubicBezTo>
                  <a:lnTo>
                    <a:pt x="3898645" y="1585912"/>
                  </a:lnTo>
                  <a:cubicBezTo>
                    <a:pt x="3898645" y="1057275"/>
                    <a:pt x="3898646" y="528637"/>
                    <a:pt x="3898646" y="0"/>
                  </a:cubicBezTo>
                  <a:close/>
                </a:path>
              </a:pathLst>
            </a:custGeom>
            <a:solidFill>
              <a:schemeClr val="accent5"/>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41" name="Freeform: Shape 40">
              <a:extLst>
                <a:ext uri="{FF2B5EF4-FFF2-40B4-BE49-F238E27FC236}">
                  <a16:creationId xmlns:a16="http://schemas.microsoft.com/office/drawing/2014/main" id="{E2CFF570-9A5F-486D-BC55-29D155166D7C}"/>
                </a:ext>
              </a:extLst>
            </p:cNvPr>
            <p:cNvSpPr/>
            <p:nvPr userDrawn="1"/>
          </p:nvSpPr>
          <p:spPr bwMode="auto">
            <a:xfrm>
              <a:off x="0" y="1"/>
              <a:ext cx="5245354" cy="1079731"/>
            </a:xfrm>
            <a:custGeom>
              <a:avLst/>
              <a:gdLst>
                <a:gd name="connsiteX0" fmla="*/ 0 w 5292080"/>
                <a:gd name="connsiteY0" fmla="*/ 0 h 1079731"/>
                <a:gd name="connsiteX1" fmla="*/ 4751512 w 5292080"/>
                <a:gd name="connsiteY1" fmla="*/ 0 h 1079731"/>
                <a:gd name="connsiteX2" fmla="*/ 4751512 w 5292080"/>
                <a:gd name="connsiteY2" fmla="*/ 2 h 1079731"/>
                <a:gd name="connsiteX3" fmla="*/ 4880305 w 5292080"/>
                <a:gd name="connsiteY3" fmla="*/ 2 h 1079731"/>
                <a:gd name="connsiteX4" fmla="*/ 5136875 w 5292080"/>
                <a:gd name="connsiteY4" fmla="*/ 720138 h 1079731"/>
                <a:gd name="connsiteX5" fmla="*/ 5245354 w 5292080"/>
                <a:gd name="connsiteY5" fmla="*/ 933808 h 1079731"/>
                <a:gd name="connsiteX6" fmla="*/ 5292080 w 5292080"/>
                <a:gd name="connsiteY6" fmla="*/ 952751 h 1079731"/>
                <a:gd name="connsiteX7" fmla="*/ 5292080 w 5292080"/>
                <a:gd name="connsiteY7" fmla="*/ 952751 h 1079731"/>
                <a:gd name="connsiteX8" fmla="*/ 5228810 w 5292080"/>
                <a:gd name="connsiteY8" fmla="*/ 927101 h 1079731"/>
                <a:gd name="connsiteX9" fmla="*/ 0 w 5292080"/>
                <a:gd name="connsiteY9" fmla="*/ 774700 h 1079731"/>
                <a:gd name="connsiteX0" fmla="*/ 0 w 5292080"/>
                <a:gd name="connsiteY0" fmla="*/ 0 h 1079731"/>
                <a:gd name="connsiteX1" fmla="*/ 4751512 w 5292080"/>
                <a:gd name="connsiteY1" fmla="*/ 0 h 1079731"/>
                <a:gd name="connsiteX2" fmla="*/ 4751512 w 5292080"/>
                <a:gd name="connsiteY2" fmla="*/ 2 h 1079731"/>
                <a:gd name="connsiteX3" fmla="*/ 4880305 w 5292080"/>
                <a:gd name="connsiteY3" fmla="*/ 2 h 1079731"/>
                <a:gd name="connsiteX4" fmla="*/ 5136875 w 5292080"/>
                <a:gd name="connsiteY4" fmla="*/ 720138 h 1079731"/>
                <a:gd name="connsiteX5" fmla="*/ 5245354 w 5292080"/>
                <a:gd name="connsiteY5" fmla="*/ 933808 h 1079731"/>
                <a:gd name="connsiteX6" fmla="*/ 5292080 w 5292080"/>
                <a:gd name="connsiteY6" fmla="*/ 952751 h 1079731"/>
                <a:gd name="connsiteX7" fmla="*/ 5228810 w 5292080"/>
                <a:gd name="connsiteY7" fmla="*/ 927101 h 1079731"/>
                <a:gd name="connsiteX8" fmla="*/ 0 w 5292080"/>
                <a:gd name="connsiteY8" fmla="*/ 774700 h 1079731"/>
                <a:gd name="connsiteX9" fmla="*/ 0 w 5292080"/>
                <a:gd name="connsiteY9" fmla="*/ 0 h 1079731"/>
                <a:gd name="connsiteX0" fmla="*/ 0 w 5245354"/>
                <a:gd name="connsiteY0" fmla="*/ 0 h 1079731"/>
                <a:gd name="connsiteX1" fmla="*/ 4751512 w 5245354"/>
                <a:gd name="connsiteY1" fmla="*/ 0 h 1079731"/>
                <a:gd name="connsiteX2" fmla="*/ 4751512 w 5245354"/>
                <a:gd name="connsiteY2" fmla="*/ 2 h 1079731"/>
                <a:gd name="connsiteX3" fmla="*/ 4880305 w 5245354"/>
                <a:gd name="connsiteY3" fmla="*/ 2 h 1079731"/>
                <a:gd name="connsiteX4" fmla="*/ 5136875 w 5245354"/>
                <a:gd name="connsiteY4" fmla="*/ 720138 h 1079731"/>
                <a:gd name="connsiteX5" fmla="*/ 5245354 w 5245354"/>
                <a:gd name="connsiteY5" fmla="*/ 933808 h 1079731"/>
                <a:gd name="connsiteX6" fmla="*/ 5228810 w 5245354"/>
                <a:gd name="connsiteY6" fmla="*/ 927101 h 1079731"/>
                <a:gd name="connsiteX7" fmla="*/ 0 w 5245354"/>
                <a:gd name="connsiteY7" fmla="*/ 774700 h 1079731"/>
                <a:gd name="connsiteX8" fmla="*/ 0 w 5245354"/>
                <a:gd name="connsiteY8" fmla="*/ 0 h 107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5354" h="1079731">
                  <a:moveTo>
                    <a:pt x="0" y="0"/>
                  </a:moveTo>
                  <a:lnTo>
                    <a:pt x="4751512" y="0"/>
                  </a:lnTo>
                  <a:lnTo>
                    <a:pt x="4751512" y="2"/>
                  </a:lnTo>
                  <a:lnTo>
                    <a:pt x="4880305" y="2"/>
                  </a:lnTo>
                  <a:cubicBezTo>
                    <a:pt x="4937692" y="237598"/>
                    <a:pt x="5026950" y="481502"/>
                    <a:pt x="5136875" y="720138"/>
                  </a:cubicBezTo>
                  <a:lnTo>
                    <a:pt x="5245354" y="933808"/>
                  </a:lnTo>
                  <a:lnTo>
                    <a:pt x="5228810" y="927101"/>
                  </a:lnTo>
                  <a:cubicBezTo>
                    <a:pt x="4129065" y="476698"/>
                    <a:pt x="1240367" y="1583267"/>
                    <a:pt x="0" y="774700"/>
                  </a:cubicBezTo>
                  <a:lnTo>
                    <a:pt x="0" y="0"/>
                  </a:lnTo>
                  <a:close/>
                </a:path>
              </a:pathLst>
            </a:custGeom>
            <a:solidFill>
              <a:schemeClr val="bg2"/>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44" name="Freeform: Shape 43">
              <a:extLst>
                <a:ext uri="{FF2B5EF4-FFF2-40B4-BE49-F238E27FC236}">
                  <a16:creationId xmlns:a16="http://schemas.microsoft.com/office/drawing/2014/main" id="{7AF0A854-C03E-4948-953E-D7D3D5E807BC}"/>
                </a:ext>
              </a:extLst>
            </p:cNvPr>
            <p:cNvSpPr/>
            <p:nvPr userDrawn="1"/>
          </p:nvSpPr>
          <p:spPr bwMode="auto">
            <a:xfrm>
              <a:off x="4751512" y="0"/>
              <a:ext cx="4392488" cy="1593170"/>
            </a:xfrm>
            <a:custGeom>
              <a:avLst/>
              <a:gdLst>
                <a:gd name="connsiteX0" fmla="*/ 0 w 4392488"/>
                <a:gd name="connsiteY0" fmla="*/ 0 h 1593170"/>
                <a:gd name="connsiteX1" fmla="*/ 4392488 w 4392488"/>
                <a:gd name="connsiteY1" fmla="*/ 0 h 1593170"/>
                <a:gd name="connsiteX2" fmla="*/ 4392487 w 4392488"/>
                <a:gd name="connsiteY2" fmla="*/ 1585912 h 1593170"/>
                <a:gd name="connsiteX3" fmla="*/ 3994850 w 4392488"/>
                <a:gd name="connsiteY3" fmla="*/ 1592943 h 1593170"/>
                <a:gd name="connsiteX4" fmla="*/ 844599 w 4392488"/>
                <a:gd name="connsiteY4" fmla="*/ 1076011 h 1593170"/>
                <a:gd name="connsiteX5" fmla="*/ 493842 w 4392488"/>
                <a:gd name="connsiteY5" fmla="*/ 933808 h 1593170"/>
                <a:gd name="connsiteX6" fmla="*/ 385363 w 4392488"/>
                <a:gd name="connsiteY6" fmla="*/ 720138 h 1593170"/>
                <a:gd name="connsiteX7" fmla="*/ 128793 w 4392488"/>
                <a:gd name="connsiteY7" fmla="*/ 2 h 1593170"/>
                <a:gd name="connsiteX8" fmla="*/ 0 w 4392488"/>
                <a:gd name="connsiteY8" fmla="*/ 2 h 1593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2488" h="1593170">
                  <a:moveTo>
                    <a:pt x="0" y="0"/>
                  </a:moveTo>
                  <a:lnTo>
                    <a:pt x="4392488" y="0"/>
                  </a:lnTo>
                  <a:cubicBezTo>
                    <a:pt x="4392488" y="528637"/>
                    <a:pt x="4392487" y="1057275"/>
                    <a:pt x="4392487" y="1585912"/>
                  </a:cubicBezTo>
                  <a:lnTo>
                    <a:pt x="3994850" y="1592943"/>
                  </a:lnTo>
                  <a:cubicBezTo>
                    <a:pt x="2359029" y="1600790"/>
                    <a:pt x="1673664" y="1404936"/>
                    <a:pt x="844599" y="1076011"/>
                  </a:cubicBezTo>
                  <a:lnTo>
                    <a:pt x="493842" y="933808"/>
                  </a:lnTo>
                  <a:lnTo>
                    <a:pt x="385363" y="720138"/>
                  </a:lnTo>
                  <a:cubicBezTo>
                    <a:pt x="275438" y="481502"/>
                    <a:pt x="186180" y="237598"/>
                    <a:pt x="128793" y="2"/>
                  </a:cubicBezTo>
                  <a:lnTo>
                    <a:pt x="0" y="2"/>
                  </a:lnTo>
                  <a:close/>
                </a:path>
              </a:pathLst>
            </a:custGeom>
            <a:solidFill>
              <a:schemeClr val="bg1"/>
            </a:solidFill>
            <a:ln>
              <a:no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grpSp>
      <p:sp>
        <p:nvSpPr>
          <p:cNvPr id="20" name="Title 2">
            <a:extLst>
              <a:ext uri="{FF2B5EF4-FFF2-40B4-BE49-F238E27FC236}">
                <a16:creationId xmlns:a16="http://schemas.microsoft.com/office/drawing/2014/main" id="{57EB2AE8-5B8A-4F10-8510-BAEE9EDECCDA}"/>
              </a:ext>
            </a:extLst>
          </p:cNvPr>
          <p:cNvSpPr>
            <a:spLocks noGrp="1"/>
          </p:cNvSpPr>
          <p:nvPr>
            <p:ph type="title" hasCustomPrompt="1"/>
          </p:nvPr>
        </p:nvSpPr>
        <p:spPr>
          <a:xfrm>
            <a:off x="523200" y="2605935"/>
            <a:ext cx="7351845" cy="3600893"/>
          </a:xfrm>
          <a:prstGeom prst="rect">
            <a:avLst/>
          </a:prstGeom>
        </p:spPr>
        <p:txBody>
          <a:bodyPr tIns="0" bIns="0" anchor="b"/>
          <a:lstStyle>
            <a:lvl1pPr algn="l">
              <a:defRPr sz="3733">
                <a:solidFill>
                  <a:schemeClr val="bg1"/>
                </a:solidFill>
                <a:latin typeface="Crank 8 Plus Two" panose="02000506030000020004" pitchFamily="50" charset="0"/>
              </a:defRPr>
            </a:lvl1pPr>
          </a:lstStyle>
          <a:p>
            <a:r>
              <a:rPr lang="en-US" dirty="0"/>
              <a:t>Click to edit master text style</a:t>
            </a:r>
            <a:endParaRPr dirty="0"/>
          </a:p>
        </p:txBody>
      </p:sp>
      <p:grpSp>
        <p:nvGrpSpPr>
          <p:cNvPr id="13" name="Graphic 6">
            <a:extLst>
              <a:ext uri="{FF2B5EF4-FFF2-40B4-BE49-F238E27FC236}">
                <a16:creationId xmlns:a16="http://schemas.microsoft.com/office/drawing/2014/main" id="{C73B0EE6-E640-4A30-A2C5-B1B9A85DE644}"/>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4" name="Freeform: Shape 13">
              <a:extLst>
                <a:ext uri="{FF2B5EF4-FFF2-40B4-BE49-F238E27FC236}">
                  <a16:creationId xmlns:a16="http://schemas.microsoft.com/office/drawing/2014/main" id="{521BBF27-23A2-4E8B-837E-BFDF743929C2}"/>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5" name="Freeform: Shape 14">
              <a:extLst>
                <a:ext uri="{FF2B5EF4-FFF2-40B4-BE49-F238E27FC236}">
                  <a16:creationId xmlns:a16="http://schemas.microsoft.com/office/drawing/2014/main" id="{43B8693B-B266-49EA-94E2-57A6A0C5CB43}"/>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0" name="Freeform: Shape 9" hidden="1">
            <a:extLst>
              <a:ext uri="{FF2B5EF4-FFF2-40B4-BE49-F238E27FC236}">
                <a16:creationId xmlns:a16="http://schemas.microsoft.com/office/drawing/2014/main" id="{AA734D8B-6D58-4E96-B5E3-E20FEA7CF661}"/>
              </a:ext>
            </a:extLst>
          </p:cNvPr>
          <p:cNvSpPr/>
          <p:nvPr userDrawn="1"/>
        </p:nvSpPr>
        <p:spPr bwMode="auto">
          <a:xfrm>
            <a:off x="0" y="1032933"/>
            <a:ext cx="12192000" cy="5825067"/>
          </a:xfrm>
          <a:custGeom>
            <a:avLst/>
            <a:gdLst>
              <a:gd name="connsiteX0" fmla="*/ 0 w 9144000"/>
              <a:gd name="connsiteY0" fmla="*/ 0 h 4368800"/>
              <a:gd name="connsiteX1" fmla="*/ 5238750 w 9144000"/>
              <a:gd name="connsiteY1" fmla="*/ 152400 h 4368800"/>
              <a:gd name="connsiteX2" fmla="*/ 8746362 w 9144000"/>
              <a:gd name="connsiteY2" fmla="*/ 818243 h 4368800"/>
              <a:gd name="connsiteX3" fmla="*/ 9098280 w 9144000"/>
              <a:gd name="connsiteY3" fmla="*/ 813348 h 4368800"/>
              <a:gd name="connsiteX4" fmla="*/ 9098280 w 9144000"/>
              <a:gd name="connsiteY4" fmla="*/ 811212 h 4368800"/>
              <a:gd name="connsiteX5" fmla="*/ 9143999 w 9144000"/>
              <a:gd name="connsiteY5" fmla="*/ 811212 h 4368800"/>
              <a:gd name="connsiteX6" fmla="*/ 9143999 w 9144000"/>
              <a:gd name="connsiteY6" fmla="*/ 4368266 h 4368800"/>
              <a:gd name="connsiteX7" fmla="*/ 9144000 w 9144000"/>
              <a:gd name="connsiteY7" fmla="*/ 4368800 h 4368800"/>
              <a:gd name="connsiteX8" fmla="*/ 0 w 9144000"/>
              <a:gd name="connsiteY8" fmla="*/ 4368800 h 4368800"/>
              <a:gd name="connsiteX0" fmla="*/ 0 w 9144000"/>
              <a:gd name="connsiteY0" fmla="*/ 0 h 4368800"/>
              <a:gd name="connsiteX1" fmla="*/ 5238750 w 9144000"/>
              <a:gd name="connsiteY1" fmla="*/ 152400 h 4368800"/>
              <a:gd name="connsiteX2" fmla="*/ 8746362 w 9144000"/>
              <a:gd name="connsiteY2" fmla="*/ 818243 h 4368800"/>
              <a:gd name="connsiteX3" fmla="*/ 9098280 w 9144000"/>
              <a:gd name="connsiteY3" fmla="*/ 813348 h 4368800"/>
              <a:gd name="connsiteX4" fmla="*/ 9143999 w 9144000"/>
              <a:gd name="connsiteY4" fmla="*/ 811212 h 4368800"/>
              <a:gd name="connsiteX5" fmla="*/ 9143999 w 9144000"/>
              <a:gd name="connsiteY5" fmla="*/ 4368266 h 4368800"/>
              <a:gd name="connsiteX6" fmla="*/ 9144000 w 9144000"/>
              <a:gd name="connsiteY6" fmla="*/ 4368800 h 4368800"/>
              <a:gd name="connsiteX7" fmla="*/ 0 w 9144000"/>
              <a:gd name="connsiteY7" fmla="*/ 4368800 h 4368800"/>
              <a:gd name="connsiteX8" fmla="*/ 0 w 9144000"/>
              <a:gd name="connsiteY8" fmla="*/ 0 h 4368800"/>
              <a:gd name="connsiteX0" fmla="*/ 0 w 9144000"/>
              <a:gd name="connsiteY0" fmla="*/ 0 h 4368800"/>
              <a:gd name="connsiteX1" fmla="*/ 5238750 w 9144000"/>
              <a:gd name="connsiteY1" fmla="*/ 152400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18871 w 9144000"/>
              <a:gd name="connsiteY1" fmla="*/ 14743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18871 w 9144000"/>
              <a:gd name="connsiteY1" fmla="*/ 14743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18871 w 9144000"/>
              <a:gd name="connsiteY1" fmla="*/ 14743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13901 w 9144000"/>
              <a:gd name="connsiteY1" fmla="*/ 137492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13901 w 9144000"/>
              <a:gd name="connsiteY1" fmla="*/ 137492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28810 w 9144000"/>
              <a:gd name="connsiteY1" fmla="*/ 15240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28810 w 9144000"/>
              <a:gd name="connsiteY1" fmla="*/ 15240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 name="connsiteX0" fmla="*/ 0 w 9144000"/>
              <a:gd name="connsiteY0" fmla="*/ 0 h 4368800"/>
              <a:gd name="connsiteX1" fmla="*/ 5228810 w 9144000"/>
              <a:gd name="connsiteY1" fmla="*/ 152401 h 4368800"/>
              <a:gd name="connsiteX2" fmla="*/ 8746362 w 9144000"/>
              <a:gd name="connsiteY2" fmla="*/ 818243 h 4368800"/>
              <a:gd name="connsiteX3" fmla="*/ 9143999 w 9144000"/>
              <a:gd name="connsiteY3" fmla="*/ 811212 h 4368800"/>
              <a:gd name="connsiteX4" fmla="*/ 9143999 w 9144000"/>
              <a:gd name="connsiteY4" fmla="*/ 4368266 h 4368800"/>
              <a:gd name="connsiteX5" fmla="*/ 9144000 w 9144000"/>
              <a:gd name="connsiteY5" fmla="*/ 4368800 h 4368800"/>
              <a:gd name="connsiteX6" fmla="*/ 0 w 9144000"/>
              <a:gd name="connsiteY6" fmla="*/ 4368800 h 4368800"/>
              <a:gd name="connsiteX7" fmla="*/ 0 w 9144000"/>
              <a:gd name="connsiteY7" fmla="*/ 0 h 436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4368800">
                <a:moveTo>
                  <a:pt x="0" y="0"/>
                </a:moveTo>
                <a:cubicBezTo>
                  <a:pt x="1240367" y="808567"/>
                  <a:pt x="4129065" y="-298002"/>
                  <a:pt x="5228810" y="152401"/>
                </a:cubicBezTo>
                <a:cubicBezTo>
                  <a:pt x="6248754" y="570121"/>
                  <a:pt x="6876852" y="827211"/>
                  <a:pt x="8746362" y="818243"/>
                </a:cubicBezTo>
                <a:lnTo>
                  <a:pt x="9143999" y="811212"/>
                </a:lnTo>
                <a:lnTo>
                  <a:pt x="9143999" y="4368266"/>
                </a:lnTo>
                <a:cubicBezTo>
                  <a:pt x="9143999" y="4368444"/>
                  <a:pt x="9144000" y="4368622"/>
                  <a:pt x="9144000" y="4368800"/>
                </a:cubicBezTo>
                <a:lnTo>
                  <a:pt x="0" y="4368800"/>
                </a:lnTo>
                <a:lnTo>
                  <a:pt x="0" y="0"/>
                </a:lnTo>
                <a:close/>
              </a:path>
            </a:pathLst>
          </a:custGeom>
          <a:solidFill>
            <a:schemeClr val="tx1">
              <a:alpha val="48000"/>
            </a:schemeClr>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17" name="Freeform: Shape 16" hidden="1">
            <a:extLst>
              <a:ext uri="{FF2B5EF4-FFF2-40B4-BE49-F238E27FC236}">
                <a16:creationId xmlns:a16="http://schemas.microsoft.com/office/drawing/2014/main" id="{7FABF232-14CA-4187-BA88-25662195F32A}"/>
              </a:ext>
            </a:extLst>
          </p:cNvPr>
          <p:cNvSpPr/>
          <p:nvPr userDrawn="1"/>
        </p:nvSpPr>
        <p:spPr bwMode="auto">
          <a:xfrm>
            <a:off x="0" y="3"/>
            <a:ext cx="12192000" cy="5356799"/>
          </a:xfrm>
          <a:custGeom>
            <a:avLst/>
            <a:gdLst>
              <a:gd name="connsiteX0" fmla="*/ 0 w 9144000"/>
              <a:gd name="connsiteY0" fmla="*/ 0 h 4017599"/>
              <a:gd name="connsiteX1" fmla="*/ 4880306 w 9144000"/>
              <a:gd name="connsiteY1" fmla="*/ 0 h 4017599"/>
              <a:gd name="connsiteX2" fmla="*/ 4966934 w 9144000"/>
              <a:gd name="connsiteY2" fmla="*/ 313834 h 4017599"/>
              <a:gd name="connsiteX3" fmla="*/ 6330950 w 9144000"/>
              <a:gd name="connsiteY3" fmla="*/ 2374899 h 4017599"/>
              <a:gd name="connsiteX4" fmla="*/ 7632700 w 9144000"/>
              <a:gd name="connsiteY4" fmla="*/ 3187699 h 4017599"/>
              <a:gd name="connsiteX5" fmla="*/ 9144000 w 9144000"/>
              <a:gd name="connsiteY5" fmla="*/ 4017599 h 4017599"/>
              <a:gd name="connsiteX6" fmla="*/ 0 w 9144000"/>
              <a:gd name="connsiteY6" fmla="*/ 4017599 h 4017599"/>
              <a:gd name="connsiteX0" fmla="*/ 0 w 9144000"/>
              <a:gd name="connsiteY0" fmla="*/ 0 h 4017599"/>
              <a:gd name="connsiteX1" fmla="*/ 4880306 w 9144000"/>
              <a:gd name="connsiteY1" fmla="*/ 0 h 4017599"/>
              <a:gd name="connsiteX2" fmla="*/ 4966934 w 9144000"/>
              <a:gd name="connsiteY2" fmla="*/ 313834 h 4017599"/>
              <a:gd name="connsiteX3" fmla="*/ 6330950 w 9144000"/>
              <a:gd name="connsiteY3" fmla="*/ 2374899 h 4017599"/>
              <a:gd name="connsiteX4" fmla="*/ 7632700 w 9144000"/>
              <a:gd name="connsiteY4" fmla="*/ 3187699 h 4017599"/>
              <a:gd name="connsiteX5" fmla="*/ 9144000 w 9144000"/>
              <a:gd name="connsiteY5" fmla="*/ 4017599 h 4017599"/>
              <a:gd name="connsiteX6" fmla="*/ 0 w 9144000"/>
              <a:gd name="connsiteY6" fmla="*/ 4017599 h 4017599"/>
              <a:gd name="connsiteX7" fmla="*/ 0 w 9144000"/>
              <a:gd name="connsiteY7" fmla="*/ 0 h 4017599"/>
              <a:gd name="connsiteX0" fmla="*/ 0 w 9144000"/>
              <a:gd name="connsiteY0" fmla="*/ 0 h 4017599"/>
              <a:gd name="connsiteX1" fmla="*/ 4880306 w 9144000"/>
              <a:gd name="connsiteY1" fmla="*/ 0 h 4017599"/>
              <a:gd name="connsiteX2" fmla="*/ 6330950 w 9144000"/>
              <a:gd name="connsiteY2" fmla="*/ 23748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 name="connsiteX0" fmla="*/ 0 w 9144000"/>
              <a:gd name="connsiteY0" fmla="*/ 0 h 4017599"/>
              <a:gd name="connsiteX1" fmla="*/ 4880306 w 9144000"/>
              <a:gd name="connsiteY1" fmla="*/ 0 h 4017599"/>
              <a:gd name="connsiteX2" fmla="*/ 6330950 w 9144000"/>
              <a:gd name="connsiteY2" fmla="*/ 23748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 name="connsiteX0" fmla="*/ 0 w 9144000"/>
              <a:gd name="connsiteY0" fmla="*/ 0 h 4017599"/>
              <a:gd name="connsiteX1" fmla="*/ 4880306 w 9144000"/>
              <a:gd name="connsiteY1" fmla="*/ 0 h 4017599"/>
              <a:gd name="connsiteX2" fmla="*/ 6330950 w 9144000"/>
              <a:gd name="connsiteY2" fmla="*/ 23748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 name="connsiteX0" fmla="*/ 0 w 9144000"/>
              <a:gd name="connsiteY0" fmla="*/ 0 h 4017599"/>
              <a:gd name="connsiteX1" fmla="*/ 4880306 w 9144000"/>
              <a:gd name="connsiteY1" fmla="*/ 0 h 4017599"/>
              <a:gd name="connsiteX2" fmla="*/ 6330950 w 9144000"/>
              <a:gd name="connsiteY2" fmla="*/ 23748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 name="connsiteX0" fmla="*/ 0 w 9144000"/>
              <a:gd name="connsiteY0" fmla="*/ 0 h 4017599"/>
              <a:gd name="connsiteX1" fmla="*/ 4880306 w 9144000"/>
              <a:gd name="connsiteY1" fmla="*/ 0 h 4017599"/>
              <a:gd name="connsiteX2" fmla="*/ 6330950 w 9144000"/>
              <a:gd name="connsiteY2" fmla="*/ 23748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 name="connsiteX0" fmla="*/ 0 w 9144000"/>
              <a:gd name="connsiteY0" fmla="*/ 0 h 4017599"/>
              <a:gd name="connsiteX1" fmla="*/ 4880306 w 9144000"/>
              <a:gd name="connsiteY1" fmla="*/ 0 h 4017599"/>
              <a:gd name="connsiteX2" fmla="*/ 6381750 w 9144000"/>
              <a:gd name="connsiteY2" fmla="*/ 2412999 h 4017599"/>
              <a:gd name="connsiteX3" fmla="*/ 7632700 w 9144000"/>
              <a:gd name="connsiteY3" fmla="*/ 3187699 h 4017599"/>
              <a:gd name="connsiteX4" fmla="*/ 9144000 w 9144000"/>
              <a:gd name="connsiteY4" fmla="*/ 4017599 h 4017599"/>
              <a:gd name="connsiteX5" fmla="*/ 0 w 9144000"/>
              <a:gd name="connsiteY5" fmla="*/ 4017599 h 4017599"/>
              <a:gd name="connsiteX6" fmla="*/ 0 w 9144000"/>
              <a:gd name="connsiteY6" fmla="*/ 0 h 401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4017599">
                <a:moveTo>
                  <a:pt x="0" y="0"/>
                </a:moveTo>
                <a:lnTo>
                  <a:pt x="4880306" y="0"/>
                </a:lnTo>
                <a:cubicBezTo>
                  <a:pt x="5109854" y="950383"/>
                  <a:pt x="5849334" y="2001703"/>
                  <a:pt x="6381750" y="2412999"/>
                </a:cubicBezTo>
                <a:cubicBezTo>
                  <a:pt x="6986539" y="2880203"/>
                  <a:pt x="7181850" y="2933699"/>
                  <a:pt x="7632700" y="3187699"/>
                </a:cubicBezTo>
                <a:cubicBezTo>
                  <a:pt x="8230658" y="3514399"/>
                  <a:pt x="8587317" y="3693016"/>
                  <a:pt x="9144000" y="4017599"/>
                </a:cubicBezTo>
                <a:lnTo>
                  <a:pt x="0" y="4017599"/>
                </a:lnTo>
                <a:lnTo>
                  <a:pt x="0" y="0"/>
                </a:lnTo>
                <a:close/>
              </a:path>
            </a:pathLst>
          </a:custGeom>
          <a:solidFill>
            <a:schemeClr val="tx1">
              <a:alpha val="61000"/>
            </a:schemeClr>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Tree>
    <p:extLst>
      <p:ext uri="{BB962C8B-B14F-4D97-AF65-F5344CB8AC3E}">
        <p14:creationId xmlns:p14="http://schemas.microsoft.com/office/powerpoint/2010/main" val="398034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kstballonen">
    <p:spTree>
      <p:nvGrpSpPr>
        <p:cNvPr id="1" name=""/>
        <p:cNvGrpSpPr/>
        <p:nvPr/>
      </p:nvGrpSpPr>
      <p:grpSpPr>
        <a:xfrm>
          <a:off x="0" y="0"/>
          <a:ext cx="0" cy="0"/>
          <a:chOff x="0" y="0"/>
          <a:chExt cx="0" cy="0"/>
        </a:xfrm>
      </p:grpSpPr>
      <p:sp>
        <p:nvSpPr>
          <p:cNvPr id="2" name="AutoShape 1">
            <a:extLst>
              <a:ext uri="{FF2B5EF4-FFF2-40B4-BE49-F238E27FC236}">
                <a16:creationId xmlns:a16="http://schemas.microsoft.com/office/drawing/2014/main" id="{BDE540B1-90FB-3841-98AE-948E22D856B3}"/>
              </a:ext>
            </a:extLst>
          </p:cNvPr>
          <p:cNvSpPr>
            <a:spLocks/>
          </p:cNvSpPr>
          <p:nvPr userDrawn="1"/>
        </p:nvSpPr>
        <p:spPr bwMode="auto">
          <a:xfrm flipH="1">
            <a:off x="9289471" y="2700048"/>
            <a:ext cx="2006656" cy="2207064"/>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839 w 19983"/>
              <a:gd name="connsiteY0" fmla="*/ 0 h 21600"/>
              <a:gd name="connsiteX1" fmla="*/ 2881 w 19983"/>
              <a:gd name="connsiteY1" fmla="*/ 2791 h 21600"/>
              <a:gd name="connsiteX2" fmla="*/ 2881 w 19983"/>
              <a:gd name="connsiteY2" fmla="*/ 16270 h 21600"/>
              <a:gd name="connsiteX3" fmla="*/ 9187 w 19983"/>
              <a:gd name="connsiteY3" fmla="*/ 19031 h 21600"/>
              <a:gd name="connsiteX4" fmla="*/ 11077 w 19983"/>
              <a:gd name="connsiteY4" fmla="*/ 21600 h 21600"/>
              <a:gd name="connsiteX5" fmla="*/ 11077 w 19983"/>
              <a:gd name="connsiteY5" fmla="*/ 18977 h 21600"/>
              <a:gd name="connsiteX6" fmla="*/ 16796 w 19983"/>
              <a:gd name="connsiteY6" fmla="*/ 16270 h 21600"/>
              <a:gd name="connsiteX7" fmla="*/ 17375 w 19983"/>
              <a:gd name="connsiteY7" fmla="*/ 2631 h 21600"/>
              <a:gd name="connsiteX8" fmla="*/ 9839 w 19983"/>
              <a:gd name="connsiteY8" fmla="*/ 0 h 21600"/>
              <a:gd name="connsiteX0" fmla="*/ 10124 w 20268"/>
              <a:gd name="connsiteY0" fmla="*/ 0 h 21600"/>
              <a:gd name="connsiteX1" fmla="*/ 3166 w 20268"/>
              <a:gd name="connsiteY1" fmla="*/ 2791 h 21600"/>
              <a:gd name="connsiteX2" fmla="*/ 3166 w 20268"/>
              <a:gd name="connsiteY2" fmla="*/ 16270 h 21600"/>
              <a:gd name="connsiteX3" fmla="*/ 9472 w 20268"/>
              <a:gd name="connsiteY3" fmla="*/ 19031 h 21600"/>
              <a:gd name="connsiteX4" fmla="*/ 11362 w 20268"/>
              <a:gd name="connsiteY4" fmla="*/ 21600 h 21600"/>
              <a:gd name="connsiteX5" fmla="*/ 11362 w 20268"/>
              <a:gd name="connsiteY5" fmla="*/ 18977 h 21600"/>
              <a:gd name="connsiteX6" fmla="*/ 17081 w 20268"/>
              <a:gd name="connsiteY6" fmla="*/ 16270 h 21600"/>
              <a:gd name="connsiteX7" fmla="*/ 17660 w 20268"/>
              <a:gd name="connsiteY7" fmla="*/ 2631 h 21600"/>
              <a:gd name="connsiteX8" fmla="*/ 10124 w 20268"/>
              <a:gd name="connsiteY8"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68" h="21600">
                <a:moveTo>
                  <a:pt x="10124" y="0"/>
                </a:moveTo>
                <a:cubicBezTo>
                  <a:pt x="7708" y="27"/>
                  <a:pt x="5190" y="1042"/>
                  <a:pt x="3166" y="2791"/>
                </a:cubicBezTo>
                <a:cubicBezTo>
                  <a:pt x="-1420" y="6753"/>
                  <a:pt x="-676" y="12548"/>
                  <a:pt x="3166" y="16270"/>
                </a:cubicBezTo>
                <a:cubicBezTo>
                  <a:pt x="4921" y="17971"/>
                  <a:pt x="7175" y="18884"/>
                  <a:pt x="9472" y="19031"/>
                </a:cubicBezTo>
                <a:lnTo>
                  <a:pt x="11362" y="21600"/>
                </a:lnTo>
                <a:lnTo>
                  <a:pt x="11362" y="18977"/>
                </a:lnTo>
                <a:cubicBezTo>
                  <a:pt x="13452" y="18721"/>
                  <a:pt x="15476" y="17825"/>
                  <a:pt x="17081" y="16270"/>
                </a:cubicBezTo>
                <a:cubicBezTo>
                  <a:pt x="20923" y="12548"/>
                  <a:pt x="21502" y="6353"/>
                  <a:pt x="17660" y="2631"/>
                </a:cubicBezTo>
                <a:cubicBezTo>
                  <a:pt x="15739" y="770"/>
                  <a:pt x="12540" y="-27"/>
                  <a:pt x="10124" y="0"/>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74C606"/>
              </a:solidFill>
              <a:latin typeface="+mn-lt"/>
              <a:cs typeface="Roboto" panose="02000000000000000000" pitchFamily="2" charset="0"/>
              <a:sym typeface="Helvetica Light" charset="0"/>
            </a:endParaRPr>
          </a:p>
        </p:txBody>
      </p:sp>
      <p:sp>
        <p:nvSpPr>
          <p:cNvPr id="3" name="AutoShape 4">
            <a:extLst>
              <a:ext uri="{FF2B5EF4-FFF2-40B4-BE49-F238E27FC236}">
                <a16:creationId xmlns:a16="http://schemas.microsoft.com/office/drawing/2014/main" id="{85036382-75CF-E44D-A214-A1C294272ED0}"/>
              </a:ext>
            </a:extLst>
          </p:cNvPr>
          <p:cNvSpPr>
            <a:spLocks/>
          </p:cNvSpPr>
          <p:nvPr userDrawn="1"/>
        </p:nvSpPr>
        <p:spPr bwMode="auto">
          <a:xfrm>
            <a:off x="829373" y="2700048"/>
            <a:ext cx="2004575" cy="2207064"/>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931 w 19769"/>
              <a:gd name="connsiteY0" fmla="*/ 0 h 21600"/>
              <a:gd name="connsiteX1" fmla="*/ 1651 w 19769"/>
              <a:gd name="connsiteY1" fmla="*/ 2951 h 21600"/>
              <a:gd name="connsiteX2" fmla="*/ 2973 w 19769"/>
              <a:gd name="connsiteY2" fmla="*/ 16270 h 21600"/>
              <a:gd name="connsiteX3" fmla="*/ 9279 w 19769"/>
              <a:gd name="connsiteY3" fmla="*/ 19031 h 21600"/>
              <a:gd name="connsiteX4" fmla="*/ 11169 w 19769"/>
              <a:gd name="connsiteY4" fmla="*/ 21600 h 21600"/>
              <a:gd name="connsiteX5" fmla="*/ 11169 w 19769"/>
              <a:gd name="connsiteY5" fmla="*/ 18977 h 21600"/>
              <a:gd name="connsiteX6" fmla="*/ 16888 w 19769"/>
              <a:gd name="connsiteY6" fmla="*/ 16270 h 21600"/>
              <a:gd name="connsiteX7" fmla="*/ 16888 w 19769"/>
              <a:gd name="connsiteY7" fmla="*/ 2791 h 21600"/>
              <a:gd name="connsiteX8" fmla="*/ 9931 w 19769"/>
              <a:gd name="connsiteY8" fmla="*/ 0 h 21600"/>
              <a:gd name="connsiteX0" fmla="*/ 9418 w 19256"/>
              <a:gd name="connsiteY0" fmla="*/ 0 h 21600"/>
              <a:gd name="connsiteX1" fmla="*/ 1138 w 19256"/>
              <a:gd name="connsiteY1" fmla="*/ 2951 h 21600"/>
              <a:gd name="connsiteX2" fmla="*/ 890 w 19256"/>
              <a:gd name="connsiteY2" fmla="*/ 15709 h 21600"/>
              <a:gd name="connsiteX3" fmla="*/ 8766 w 19256"/>
              <a:gd name="connsiteY3" fmla="*/ 19031 h 21600"/>
              <a:gd name="connsiteX4" fmla="*/ 10656 w 19256"/>
              <a:gd name="connsiteY4" fmla="*/ 21600 h 21600"/>
              <a:gd name="connsiteX5" fmla="*/ 10656 w 19256"/>
              <a:gd name="connsiteY5" fmla="*/ 18977 h 21600"/>
              <a:gd name="connsiteX6" fmla="*/ 16375 w 19256"/>
              <a:gd name="connsiteY6" fmla="*/ 16270 h 21600"/>
              <a:gd name="connsiteX7" fmla="*/ 16375 w 19256"/>
              <a:gd name="connsiteY7" fmla="*/ 2791 h 21600"/>
              <a:gd name="connsiteX8" fmla="*/ 9418 w 19256"/>
              <a:gd name="connsiteY8" fmla="*/ 0 h 21600"/>
              <a:gd name="connsiteX0" fmla="*/ 10184 w 20022"/>
              <a:gd name="connsiteY0" fmla="*/ 0 h 21600"/>
              <a:gd name="connsiteX1" fmla="*/ 1904 w 20022"/>
              <a:gd name="connsiteY1" fmla="*/ 2951 h 21600"/>
              <a:gd name="connsiteX2" fmla="*/ 1656 w 20022"/>
              <a:gd name="connsiteY2" fmla="*/ 15709 h 21600"/>
              <a:gd name="connsiteX3" fmla="*/ 9532 w 20022"/>
              <a:gd name="connsiteY3" fmla="*/ 19031 h 21600"/>
              <a:gd name="connsiteX4" fmla="*/ 11422 w 20022"/>
              <a:gd name="connsiteY4" fmla="*/ 21600 h 21600"/>
              <a:gd name="connsiteX5" fmla="*/ 11422 w 20022"/>
              <a:gd name="connsiteY5" fmla="*/ 18977 h 21600"/>
              <a:gd name="connsiteX6" fmla="*/ 17141 w 20022"/>
              <a:gd name="connsiteY6" fmla="*/ 16270 h 21600"/>
              <a:gd name="connsiteX7" fmla="*/ 17141 w 20022"/>
              <a:gd name="connsiteY7" fmla="*/ 2791 h 21600"/>
              <a:gd name="connsiteX8" fmla="*/ 10184 w 20022"/>
              <a:gd name="connsiteY8" fmla="*/ 0 h 21600"/>
              <a:gd name="connsiteX0" fmla="*/ 10409 w 20247"/>
              <a:gd name="connsiteY0" fmla="*/ 0 h 21600"/>
              <a:gd name="connsiteX1" fmla="*/ 2129 w 20247"/>
              <a:gd name="connsiteY1" fmla="*/ 2951 h 21600"/>
              <a:gd name="connsiteX2" fmla="*/ 1881 w 20247"/>
              <a:gd name="connsiteY2" fmla="*/ 15709 h 21600"/>
              <a:gd name="connsiteX3" fmla="*/ 9757 w 20247"/>
              <a:gd name="connsiteY3" fmla="*/ 19031 h 21600"/>
              <a:gd name="connsiteX4" fmla="*/ 11647 w 20247"/>
              <a:gd name="connsiteY4" fmla="*/ 21600 h 21600"/>
              <a:gd name="connsiteX5" fmla="*/ 11647 w 20247"/>
              <a:gd name="connsiteY5" fmla="*/ 18977 h 21600"/>
              <a:gd name="connsiteX6" fmla="*/ 17366 w 20247"/>
              <a:gd name="connsiteY6" fmla="*/ 16270 h 21600"/>
              <a:gd name="connsiteX7" fmla="*/ 17366 w 20247"/>
              <a:gd name="connsiteY7" fmla="*/ 2791 h 21600"/>
              <a:gd name="connsiteX8" fmla="*/ 10409 w 20247"/>
              <a:gd name="connsiteY8"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47" h="21600">
                <a:moveTo>
                  <a:pt x="10409" y="0"/>
                </a:moveTo>
                <a:cubicBezTo>
                  <a:pt x="7870" y="27"/>
                  <a:pt x="4027" y="655"/>
                  <a:pt x="2129" y="2951"/>
                </a:cubicBezTo>
                <a:cubicBezTo>
                  <a:pt x="-36" y="5569"/>
                  <a:pt x="-1208" y="11908"/>
                  <a:pt x="1881" y="15709"/>
                </a:cubicBezTo>
                <a:cubicBezTo>
                  <a:pt x="3752" y="18011"/>
                  <a:pt x="7460" y="18884"/>
                  <a:pt x="9757" y="19031"/>
                </a:cubicBezTo>
                <a:lnTo>
                  <a:pt x="11647" y="21600"/>
                </a:lnTo>
                <a:lnTo>
                  <a:pt x="11647" y="18977"/>
                </a:lnTo>
                <a:cubicBezTo>
                  <a:pt x="13737" y="18721"/>
                  <a:pt x="15761" y="17825"/>
                  <a:pt x="17366" y="16270"/>
                </a:cubicBezTo>
                <a:cubicBezTo>
                  <a:pt x="21208" y="12548"/>
                  <a:pt x="21208" y="6513"/>
                  <a:pt x="17366" y="2791"/>
                </a:cubicBezTo>
                <a:cubicBezTo>
                  <a:pt x="15445" y="930"/>
                  <a:pt x="12949" y="-27"/>
                  <a:pt x="10409" y="0"/>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B7EDE6"/>
              </a:solidFill>
              <a:latin typeface="+mn-lt"/>
              <a:cs typeface="Roboto" panose="02000000000000000000" pitchFamily="2" charset="0"/>
              <a:sym typeface="Helvetica Light" charset="0"/>
            </a:endParaRPr>
          </a:p>
        </p:txBody>
      </p:sp>
      <p:sp>
        <p:nvSpPr>
          <p:cNvPr id="4" name="AutoShape 8">
            <a:extLst>
              <a:ext uri="{FF2B5EF4-FFF2-40B4-BE49-F238E27FC236}">
                <a16:creationId xmlns:a16="http://schemas.microsoft.com/office/drawing/2014/main" id="{57995CC1-B3E5-7545-84D9-9B968CACE8F2}"/>
              </a:ext>
            </a:extLst>
          </p:cNvPr>
          <p:cNvSpPr>
            <a:spLocks/>
          </p:cNvSpPr>
          <p:nvPr userDrawn="1"/>
        </p:nvSpPr>
        <p:spPr bwMode="auto">
          <a:xfrm>
            <a:off x="2619472" y="2516001"/>
            <a:ext cx="2274421" cy="2575159"/>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973 w 19811"/>
              <a:gd name="connsiteY0" fmla="*/ 0 h 21600"/>
              <a:gd name="connsiteX1" fmla="*/ 3015 w 19811"/>
              <a:gd name="connsiteY1" fmla="*/ 2791 h 21600"/>
              <a:gd name="connsiteX2" fmla="*/ 3015 w 19811"/>
              <a:gd name="connsiteY2" fmla="*/ 16270 h 21600"/>
              <a:gd name="connsiteX3" fmla="*/ 9321 w 19811"/>
              <a:gd name="connsiteY3" fmla="*/ 19031 h 21600"/>
              <a:gd name="connsiteX4" fmla="*/ 11211 w 19811"/>
              <a:gd name="connsiteY4" fmla="*/ 21600 h 21600"/>
              <a:gd name="connsiteX5" fmla="*/ 11211 w 19811"/>
              <a:gd name="connsiteY5" fmla="*/ 18977 h 21600"/>
              <a:gd name="connsiteX6" fmla="*/ 16930 w 19811"/>
              <a:gd name="connsiteY6" fmla="*/ 16270 h 21600"/>
              <a:gd name="connsiteX7" fmla="*/ 16930 w 19811"/>
              <a:gd name="connsiteY7" fmla="*/ 2791 h 21600"/>
              <a:gd name="connsiteX8" fmla="*/ 9973 w 19811"/>
              <a:gd name="connsiteY8" fmla="*/ 0 h 21600"/>
              <a:gd name="connsiteX0" fmla="*/ 9748 w 19586"/>
              <a:gd name="connsiteY0" fmla="*/ 0 h 21600"/>
              <a:gd name="connsiteX1" fmla="*/ 2790 w 19586"/>
              <a:gd name="connsiteY1" fmla="*/ 2791 h 21600"/>
              <a:gd name="connsiteX2" fmla="*/ 2790 w 19586"/>
              <a:gd name="connsiteY2" fmla="*/ 16270 h 21600"/>
              <a:gd name="connsiteX3" fmla="*/ 9096 w 19586"/>
              <a:gd name="connsiteY3" fmla="*/ 19031 h 21600"/>
              <a:gd name="connsiteX4" fmla="*/ 10986 w 19586"/>
              <a:gd name="connsiteY4" fmla="*/ 21600 h 21600"/>
              <a:gd name="connsiteX5" fmla="*/ 10986 w 19586"/>
              <a:gd name="connsiteY5" fmla="*/ 18977 h 21600"/>
              <a:gd name="connsiteX6" fmla="*/ 16705 w 19586"/>
              <a:gd name="connsiteY6" fmla="*/ 16270 h 21600"/>
              <a:gd name="connsiteX7" fmla="*/ 16705 w 19586"/>
              <a:gd name="connsiteY7" fmla="*/ 2791 h 21600"/>
              <a:gd name="connsiteX8" fmla="*/ 9748 w 19586"/>
              <a:gd name="connsiteY8" fmla="*/ 0 h 21600"/>
              <a:gd name="connsiteX0" fmla="*/ 9748 w 19586"/>
              <a:gd name="connsiteY0" fmla="*/ 0 h 21600"/>
              <a:gd name="connsiteX1" fmla="*/ 2790 w 19586"/>
              <a:gd name="connsiteY1" fmla="*/ 2791 h 21600"/>
              <a:gd name="connsiteX2" fmla="*/ 2790 w 19586"/>
              <a:gd name="connsiteY2" fmla="*/ 16270 h 21600"/>
              <a:gd name="connsiteX3" fmla="*/ 9096 w 19586"/>
              <a:gd name="connsiteY3" fmla="*/ 19031 h 21600"/>
              <a:gd name="connsiteX4" fmla="*/ 10986 w 19586"/>
              <a:gd name="connsiteY4" fmla="*/ 21600 h 21600"/>
              <a:gd name="connsiteX5" fmla="*/ 10986 w 19586"/>
              <a:gd name="connsiteY5" fmla="*/ 18977 h 21600"/>
              <a:gd name="connsiteX6" fmla="*/ 16705 w 19586"/>
              <a:gd name="connsiteY6" fmla="*/ 16270 h 21600"/>
              <a:gd name="connsiteX7" fmla="*/ 16705 w 19586"/>
              <a:gd name="connsiteY7" fmla="*/ 2791 h 21600"/>
              <a:gd name="connsiteX8" fmla="*/ 9748 w 19586"/>
              <a:gd name="connsiteY8" fmla="*/ 0 h 21600"/>
              <a:gd name="connsiteX0" fmla="*/ 9856 w 19694"/>
              <a:gd name="connsiteY0" fmla="*/ 0 h 21600"/>
              <a:gd name="connsiteX1" fmla="*/ 2898 w 19694"/>
              <a:gd name="connsiteY1" fmla="*/ 2791 h 21600"/>
              <a:gd name="connsiteX2" fmla="*/ 2898 w 19694"/>
              <a:gd name="connsiteY2" fmla="*/ 16270 h 21600"/>
              <a:gd name="connsiteX3" fmla="*/ 9204 w 19694"/>
              <a:gd name="connsiteY3" fmla="*/ 19031 h 21600"/>
              <a:gd name="connsiteX4" fmla="*/ 11094 w 19694"/>
              <a:gd name="connsiteY4" fmla="*/ 21600 h 21600"/>
              <a:gd name="connsiteX5" fmla="*/ 11094 w 19694"/>
              <a:gd name="connsiteY5" fmla="*/ 18977 h 21600"/>
              <a:gd name="connsiteX6" fmla="*/ 16813 w 19694"/>
              <a:gd name="connsiteY6" fmla="*/ 16270 h 21600"/>
              <a:gd name="connsiteX7" fmla="*/ 16813 w 19694"/>
              <a:gd name="connsiteY7" fmla="*/ 2791 h 21600"/>
              <a:gd name="connsiteX8" fmla="*/ 9856 w 19694"/>
              <a:gd name="connsiteY8" fmla="*/ 0 h 21600"/>
              <a:gd name="connsiteX0" fmla="*/ 9856 w 19694"/>
              <a:gd name="connsiteY0" fmla="*/ 0 h 21600"/>
              <a:gd name="connsiteX1" fmla="*/ 2898 w 19694"/>
              <a:gd name="connsiteY1" fmla="*/ 2791 h 21600"/>
              <a:gd name="connsiteX2" fmla="*/ 2898 w 19694"/>
              <a:gd name="connsiteY2" fmla="*/ 16270 h 21600"/>
              <a:gd name="connsiteX3" fmla="*/ 9204 w 19694"/>
              <a:gd name="connsiteY3" fmla="*/ 19031 h 21600"/>
              <a:gd name="connsiteX4" fmla="*/ 11094 w 19694"/>
              <a:gd name="connsiteY4" fmla="*/ 21600 h 21600"/>
              <a:gd name="connsiteX5" fmla="*/ 11094 w 19694"/>
              <a:gd name="connsiteY5" fmla="*/ 18977 h 21600"/>
              <a:gd name="connsiteX6" fmla="*/ 16813 w 19694"/>
              <a:gd name="connsiteY6" fmla="*/ 16270 h 21600"/>
              <a:gd name="connsiteX7" fmla="*/ 16813 w 19694"/>
              <a:gd name="connsiteY7" fmla="*/ 2791 h 21600"/>
              <a:gd name="connsiteX8" fmla="*/ 9856 w 19694"/>
              <a:gd name="connsiteY8"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94" h="21600">
                <a:moveTo>
                  <a:pt x="9856" y="0"/>
                </a:moveTo>
                <a:cubicBezTo>
                  <a:pt x="7337" y="0"/>
                  <a:pt x="4715" y="792"/>
                  <a:pt x="2898" y="2791"/>
                </a:cubicBezTo>
                <a:cubicBezTo>
                  <a:pt x="-697" y="6746"/>
                  <a:pt x="-1227" y="12960"/>
                  <a:pt x="2898" y="16270"/>
                </a:cubicBezTo>
                <a:cubicBezTo>
                  <a:pt x="4804" y="17800"/>
                  <a:pt x="6907" y="18884"/>
                  <a:pt x="9204" y="19031"/>
                </a:cubicBezTo>
                <a:lnTo>
                  <a:pt x="11094" y="21600"/>
                </a:lnTo>
                <a:lnTo>
                  <a:pt x="11094" y="18977"/>
                </a:lnTo>
                <a:cubicBezTo>
                  <a:pt x="13184" y="18721"/>
                  <a:pt x="15208" y="17825"/>
                  <a:pt x="16813" y="16270"/>
                </a:cubicBezTo>
                <a:cubicBezTo>
                  <a:pt x="20655" y="13097"/>
                  <a:pt x="20655" y="6513"/>
                  <a:pt x="16813" y="2791"/>
                </a:cubicBezTo>
                <a:cubicBezTo>
                  <a:pt x="14538" y="450"/>
                  <a:pt x="12374" y="0"/>
                  <a:pt x="9856" y="0"/>
                </a:cubicBezTo>
                <a:close/>
              </a:path>
            </a:pathLst>
          </a:custGeom>
          <a:solidFill>
            <a:srgbClr val="991E66"/>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B7EDE6"/>
              </a:solidFill>
              <a:latin typeface="+mn-lt"/>
              <a:cs typeface="Roboto" panose="02000000000000000000" pitchFamily="2" charset="0"/>
              <a:sym typeface="Helvetica Light" charset="0"/>
            </a:endParaRPr>
          </a:p>
        </p:txBody>
      </p:sp>
      <p:sp>
        <p:nvSpPr>
          <p:cNvPr id="5" name="AutoShape 9">
            <a:extLst>
              <a:ext uri="{FF2B5EF4-FFF2-40B4-BE49-F238E27FC236}">
                <a16:creationId xmlns:a16="http://schemas.microsoft.com/office/drawing/2014/main" id="{FD2A94FF-B1FD-0F43-8BD7-D16889F871A5}"/>
              </a:ext>
            </a:extLst>
          </p:cNvPr>
          <p:cNvSpPr>
            <a:spLocks/>
          </p:cNvSpPr>
          <p:nvPr userDrawn="1"/>
        </p:nvSpPr>
        <p:spPr bwMode="auto">
          <a:xfrm flipH="1">
            <a:off x="7207761" y="2516001"/>
            <a:ext cx="2283776" cy="2575159"/>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754 w 19592"/>
              <a:gd name="connsiteY0" fmla="*/ 0 h 21600"/>
              <a:gd name="connsiteX1" fmla="*/ 2796 w 19592"/>
              <a:gd name="connsiteY1" fmla="*/ 2791 h 21600"/>
              <a:gd name="connsiteX2" fmla="*/ 2796 w 19592"/>
              <a:gd name="connsiteY2" fmla="*/ 16270 h 21600"/>
              <a:gd name="connsiteX3" fmla="*/ 9102 w 19592"/>
              <a:gd name="connsiteY3" fmla="*/ 19031 h 21600"/>
              <a:gd name="connsiteX4" fmla="*/ 10992 w 19592"/>
              <a:gd name="connsiteY4" fmla="*/ 21600 h 21600"/>
              <a:gd name="connsiteX5" fmla="*/ 10992 w 19592"/>
              <a:gd name="connsiteY5" fmla="*/ 18977 h 21600"/>
              <a:gd name="connsiteX6" fmla="*/ 16711 w 19592"/>
              <a:gd name="connsiteY6" fmla="*/ 16270 h 21600"/>
              <a:gd name="connsiteX7" fmla="*/ 16711 w 19592"/>
              <a:gd name="connsiteY7" fmla="*/ 2791 h 21600"/>
              <a:gd name="connsiteX8" fmla="*/ 9754 w 19592"/>
              <a:gd name="connsiteY8" fmla="*/ 0 h 21600"/>
              <a:gd name="connsiteX0" fmla="*/ 9754 w 19775"/>
              <a:gd name="connsiteY0" fmla="*/ 0 h 21600"/>
              <a:gd name="connsiteX1" fmla="*/ 2796 w 19775"/>
              <a:gd name="connsiteY1" fmla="*/ 2791 h 21600"/>
              <a:gd name="connsiteX2" fmla="*/ 2796 w 19775"/>
              <a:gd name="connsiteY2" fmla="*/ 16270 h 21600"/>
              <a:gd name="connsiteX3" fmla="*/ 9102 w 19775"/>
              <a:gd name="connsiteY3" fmla="*/ 19031 h 21600"/>
              <a:gd name="connsiteX4" fmla="*/ 10992 w 19775"/>
              <a:gd name="connsiteY4" fmla="*/ 21600 h 21600"/>
              <a:gd name="connsiteX5" fmla="*/ 10992 w 19775"/>
              <a:gd name="connsiteY5" fmla="*/ 18977 h 21600"/>
              <a:gd name="connsiteX6" fmla="*/ 17065 w 19775"/>
              <a:gd name="connsiteY6" fmla="*/ 16613 h 21600"/>
              <a:gd name="connsiteX7" fmla="*/ 16711 w 19775"/>
              <a:gd name="connsiteY7" fmla="*/ 2791 h 21600"/>
              <a:gd name="connsiteX8" fmla="*/ 9754 w 19775"/>
              <a:gd name="connsiteY8" fmla="*/ 0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5" h="21600">
                <a:moveTo>
                  <a:pt x="9754" y="0"/>
                </a:moveTo>
                <a:cubicBezTo>
                  <a:pt x="7235" y="0"/>
                  <a:pt x="5000" y="381"/>
                  <a:pt x="2796" y="2791"/>
                </a:cubicBezTo>
                <a:cubicBezTo>
                  <a:pt x="-814" y="6738"/>
                  <a:pt x="-1046" y="12548"/>
                  <a:pt x="2796" y="16270"/>
                </a:cubicBezTo>
                <a:cubicBezTo>
                  <a:pt x="4551" y="17971"/>
                  <a:pt x="6805" y="18884"/>
                  <a:pt x="9102" y="19031"/>
                </a:cubicBezTo>
                <a:lnTo>
                  <a:pt x="10992" y="21600"/>
                </a:lnTo>
                <a:lnTo>
                  <a:pt x="10992" y="18977"/>
                </a:lnTo>
                <a:cubicBezTo>
                  <a:pt x="13082" y="18721"/>
                  <a:pt x="15460" y="18168"/>
                  <a:pt x="17065" y="16613"/>
                </a:cubicBezTo>
                <a:cubicBezTo>
                  <a:pt x="20907" y="12891"/>
                  <a:pt x="20553" y="6513"/>
                  <a:pt x="16711" y="2791"/>
                </a:cubicBezTo>
                <a:cubicBezTo>
                  <a:pt x="14790" y="930"/>
                  <a:pt x="12272" y="0"/>
                  <a:pt x="9754" y="0"/>
                </a:cubicBezTo>
                <a:close/>
              </a:path>
            </a:pathLst>
          </a:custGeom>
          <a:solidFill>
            <a:srgbClr val="991E66"/>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74C606"/>
              </a:solidFill>
              <a:latin typeface="+mn-lt"/>
              <a:cs typeface="Roboto" panose="02000000000000000000" pitchFamily="2" charset="0"/>
              <a:sym typeface="Helvetica Light" charset="0"/>
            </a:endParaRPr>
          </a:p>
        </p:txBody>
      </p:sp>
      <p:sp>
        <p:nvSpPr>
          <p:cNvPr id="6" name="AutoShape 10">
            <a:extLst>
              <a:ext uri="{FF2B5EF4-FFF2-40B4-BE49-F238E27FC236}">
                <a16:creationId xmlns:a16="http://schemas.microsoft.com/office/drawing/2014/main" id="{FB7A89EA-62D3-A945-A79F-F81EEE050764}"/>
              </a:ext>
            </a:extLst>
          </p:cNvPr>
          <p:cNvSpPr>
            <a:spLocks/>
          </p:cNvSpPr>
          <p:nvPr userDrawn="1"/>
        </p:nvSpPr>
        <p:spPr bwMode="auto">
          <a:xfrm>
            <a:off x="4712757" y="2144889"/>
            <a:ext cx="2777840" cy="3002705"/>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817 w 19656"/>
              <a:gd name="connsiteY0" fmla="*/ 0 h 21599"/>
              <a:gd name="connsiteX1" fmla="*/ 2860 w 19656"/>
              <a:gd name="connsiteY1" fmla="*/ 2939 h 21599"/>
              <a:gd name="connsiteX2" fmla="*/ 2860 w 19656"/>
              <a:gd name="connsiteY2" fmla="*/ 17131 h 21599"/>
              <a:gd name="connsiteX3" fmla="*/ 8862 w 19656"/>
              <a:gd name="connsiteY3" fmla="*/ 20023 h 21599"/>
              <a:gd name="connsiteX4" fmla="*/ 9838 w 19656"/>
              <a:gd name="connsiteY4" fmla="*/ 21599 h 21599"/>
              <a:gd name="connsiteX5" fmla="*/ 10817 w 19656"/>
              <a:gd name="connsiteY5" fmla="*/ 20018 h 21599"/>
              <a:gd name="connsiteX6" fmla="*/ 16775 w 19656"/>
              <a:gd name="connsiteY6" fmla="*/ 17131 h 21599"/>
              <a:gd name="connsiteX7" fmla="*/ 16775 w 19656"/>
              <a:gd name="connsiteY7" fmla="*/ 2939 h 21599"/>
              <a:gd name="connsiteX8" fmla="*/ 9817 w 19656"/>
              <a:gd name="connsiteY8" fmla="*/ 0 h 21599"/>
              <a:gd name="connsiteX0" fmla="*/ 9817 w 19656"/>
              <a:gd name="connsiteY0" fmla="*/ 0 h 21599"/>
              <a:gd name="connsiteX1" fmla="*/ 2860 w 19656"/>
              <a:gd name="connsiteY1" fmla="*/ 2939 h 21599"/>
              <a:gd name="connsiteX2" fmla="*/ 2860 w 19656"/>
              <a:gd name="connsiteY2" fmla="*/ 17131 h 21599"/>
              <a:gd name="connsiteX3" fmla="*/ 8862 w 19656"/>
              <a:gd name="connsiteY3" fmla="*/ 20023 h 21599"/>
              <a:gd name="connsiteX4" fmla="*/ 9838 w 19656"/>
              <a:gd name="connsiteY4" fmla="*/ 21599 h 21599"/>
              <a:gd name="connsiteX5" fmla="*/ 10817 w 19656"/>
              <a:gd name="connsiteY5" fmla="*/ 20018 h 21599"/>
              <a:gd name="connsiteX6" fmla="*/ 16775 w 19656"/>
              <a:gd name="connsiteY6" fmla="*/ 17131 h 21599"/>
              <a:gd name="connsiteX7" fmla="*/ 16775 w 19656"/>
              <a:gd name="connsiteY7" fmla="*/ 2939 h 21599"/>
              <a:gd name="connsiteX8" fmla="*/ 9817 w 19656"/>
              <a:gd name="connsiteY8" fmla="*/ 0 h 21599"/>
              <a:gd name="connsiteX0" fmla="*/ 9817 w 19787"/>
              <a:gd name="connsiteY0" fmla="*/ 0 h 21599"/>
              <a:gd name="connsiteX1" fmla="*/ 2860 w 19787"/>
              <a:gd name="connsiteY1" fmla="*/ 2939 h 21599"/>
              <a:gd name="connsiteX2" fmla="*/ 2860 w 19787"/>
              <a:gd name="connsiteY2" fmla="*/ 17131 h 21599"/>
              <a:gd name="connsiteX3" fmla="*/ 8862 w 19787"/>
              <a:gd name="connsiteY3" fmla="*/ 20023 h 21599"/>
              <a:gd name="connsiteX4" fmla="*/ 9838 w 19787"/>
              <a:gd name="connsiteY4" fmla="*/ 21599 h 21599"/>
              <a:gd name="connsiteX5" fmla="*/ 10817 w 19787"/>
              <a:gd name="connsiteY5" fmla="*/ 20018 h 21599"/>
              <a:gd name="connsiteX6" fmla="*/ 16775 w 19787"/>
              <a:gd name="connsiteY6" fmla="*/ 17131 h 21599"/>
              <a:gd name="connsiteX7" fmla="*/ 16775 w 19787"/>
              <a:gd name="connsiteY7" fmla="*/ 2939 h 21599"/>
              <a:gd name="connsiteX8" fmla="*/ 9817 w 19787"/>
              <a:gd name="connsiteY8" fmla="*/ 0 h 21599"/>
              <a:gd name="connsiteX0" fmla="*/ 9617 w 19587"/>
              <a:gd name="connsiteY0" fmla="*/ 0 h 21599"/>
              <a:gd name="connsiteX1" fmla="*/ 2660 w 19587"/>
              <a:gd name="connsiteY1" fmla="*/ 2939 h 21599"/>
              <a:gd name="connsiteX2" fmla="*/ 2660 w 19587"/>
              <a:gd name="connsiteY2" fmla="*/ 17131 h 21599"/>
              <a:gd name="connsiteX3" fmla="*/ 8662 w 19587"/>
              <a:gd name="connsiteY3" fmla="*/ 20023 h 21599"/>
              <a:gd name="connsiteX4" fmla="*/ 9638 w 19587"/>
              <a:gd name="connsiteY4" fmla="*/ 21599 h 21599"/>
              <a:gd name="connsiteX5" fmla="*/ 10617 w 19587"/>
              <a:gd name="connsiteY5" fmla="*/ 20018 h 21599"/>
              <a:gd name="connsiteX6" fmla="*/ 16575 w 19587"/>
              <a:gd name="connsiteY6" fmla="*/ 17131 h 21599"/>
              <a:gd name="connsiteX7" fmla="*/ 16575 w 19587"/>
              <a:gd name="connsiteY7" fmla="*/ 2939 h 21599"/>
              <a:gd name="connsiteX8" fmla="*/ 9617 w 19587"/>
              <a:gd name="connsiteY8" fmla="*/ 0 h 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87" h="21599">
                <a:moveTo>
                  <a:pt x="9617" y="0"/>
                </a:moveTo>
                <a:cubicBezTo>
                  <a:pt x="7099" y="0"/>
                  <a:pt x="4508" y="910"/>
                  <a:pt x="2660" y="2939"/>
                </a:cubicBezTo>
                <a:cubicBezTo>
                  <a:pt x="-1124" y="7093"/>
                  <a:pt x="-639" y="12745"/>
                  <a:pt x="2660" y="17131"/>
                </a:cubicBezTo>
                <a:cubicBezTo>
                  <a:pt x="3992" y="18902"/>
                  <a:pt x="6471" y="19807"/>
                  <a:pt x="8662" y="20023"/>
                </a:cubicBezTo>
                <a:lnTo>
                  <a:pt x="9638" y="21599"/>
                </a:lnTo>
                <a:lnTo>
                  <a:pt x="10617" y="20018"/>
                </a:lnTo>
                <a:cubicBezTo>
                  <a:pt x="12793" y="19793"/>
                  <a:pt x="14908" y="18831"/>
                  <a:pt x="16575" y="17131"/>
                </a:cubicBezTo>
                <a:cubicBezTo>
                  <a:pt x="20763" y="12800"/>
                  <a:pt x="20417" y="6858"/>
                  <a:pt x="16575" y="2939"/>
                </a:cubicBezTo>
                <a:cubicBezTo>
                  <a:pt x="14135" y="273"/>
                  <a:pt x="12135" y="0"/>
                  <a:pt x="9617" y="0"/>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F6DC68"/>
              </a:solidFill>
              <a:latin typeface="+mn-lt"/>
              <a:cs typeface="Roboto" panose="02000000000000000000" pitchFamily="2" charset="0"/>
              <a:sym typeface="Helvetica Light" charset="0"/>
            </a:endParaRPr>
          </a:p>
        </p:txBody>
      </p:sp>
      <p:sp>
        <p:nvSpPr>
          <p:cNvPr id="16" name="TextBox 15">
            <a:extLst>
              <a:ext uri="{FF2B5EF4-FFF2-40B4-BE49-F238E27FC236}">
                <a16:creationId xmlns:a16="http://schemas.microsoft.com/office/drawing/2014/main" id="{E76983EA-51BA-DC41-892B-EB61EE51424B}"/>
              </a:ext>
            </a:extLst>
          </p:cNvPr>
          <p:cNvSpPr txBox="1"/>
          <p:nvPr userDrawn="1"/>
        </p:nvSpPr>
        <p:spPr>
          <a:xfrm>
            <a:off x="5810993" y="2213039"/>
            <a:ext cx="686953" cy="436855"/>
          </a:xfrm>
          <a:prstGeom prst="rect">
            <a:avLst/>
          </a:prstGeom>
          <a:noFill/>
        </p:spPr>
        <p:txBody>
          <a:bodyPr wrap="square" rtlCol="0">
            <a:noAutofit/>
          </a:bodyPr>
          <a:lstStyle/>
          <a:p>
            <a:pPr marL="10584">
              <a:spcAft>
                <a:spcPts val="800"/>
              </a:spcAft>
            </a:pPr>
            <a:r>
              <a:rPr lang="nl-BE" sz="5333" b="0" dirty="0">
                <a:solidFill>
                  <a:schemeClr val="bg1"/>
                </a:solidFill>
                <a:latin typeface="+mn-lt"/>
                <a:ea typeface="Roboto" panose="02000000000000000000" pitchFamily="2" charset="0"/>
                <a:cs typeface="Roboto" panose="02000000000000000000" pitchFamily="2" charset="0"/>
              </a:rPr>
              <a:t>“</a:t>
            </a:r>
            <a:endParaRPr sz="5333" b="0" dirty="0">
              <a:solidFill>
                <a:schemeClr val="bg1"/>
              </a:solidFill>
              <a:latin typeface="+mn-lt"/>
              <a:ea typeface="Roboto" panose="02000000000000000000" pitchFamily="2" charset="0"/>
              <a:cs typeface="Roboto" panose="02000000000000000000" pitchFamily="2" charset="0"/>
            </a:endParaRPr>
          </a:p>
        </p:txBody>
      </p:sp>
      <p:sp>
        <p:nvSpPr>
          <p:cNvPr id="17" name="TextBox 16">
            <a:extLst>
              <a:ext uri="{FF2B5EF4-FFF2-40B4-BE49-F238E27FC236}">
                <a16:creationId xmlns:a16="http://schemas.microsoft.com/office/drawing/2014/main" id="{EA1BF104-0B3F-C34F-962E-EB440904236F}"/>
              </a:ext>
            </a:extLst>
          </p:cNvPr>
          <p:cNvSpPr txBox="1"/>
          <p:nvPr userDrawn="1"/>
        </p:nvSpPr>
        <p:spPr>
          <a:xfrm>
            <a:off x="8095480" y="2558635"/>
            <a:ext cx="686953" cy="436855"/>
          </a:xfrm>
          <a:prstGeom prst="rect">
            <a:avLst/>
          </a:prstGeom>
          <a:noFill/>
        </p:spPr>
        <p:txBody>
          <a:bodyPr wrap="square" rtlCol="0">
            <a:noAutofit/>
          </a:bodyPr>
          <a:lstStyle/>
          <a:p>
            <a:pPr marL="10584">
              <a:spcAft>
                <a:spcPts val="800"/>
              </a:spcAft>
            </a:pPr>
            <a:r>
              <a:rPr lang="nl-BE" sz="5333" b="0" dirty="0">
                <a:solidFill>
                  <a:schemeClr val="bg1"/>
                </a:solidFill>
                <a:latin typeface="+mn-lt"/>
                <a:ea typeface="Roboto" panose="02000000000000000000" pitchFamily="2" charset="0"/>
                <a:cs typeface="Roboto" panose="02000000000000000000" pitchFamily="2" charset="0"/>
              </a:rPr>
              <a:t>“</a:t>
            </a:r>
            <a:endParaRPr sz="5333" b="0" dirty="0">
              <a:solidFill>
                <a:schemeClr val="bg1"/>
              </a:solidFill>
              <a:latin typeface="+mn-lt"/>
              <a:ea typeface="Roboto" panose="02000000000000000000" pitchFamily="2" charset="0"/>
              <a:cs typeface="Roboto" panose="02000000000000000000" pitchFamily="2" charset="0"/>
            </a:endParaRPr>
          </a:p>
        </p:txBody>
      </p:sp>
      <p:sp>
        <p:nvSpPr>
          <p:cNvPr id="18" name="TextBox 17">
            <a:extLst>
              <a:ext uri="{FF2B5EF4-FFF2-40B4-BE49-F238E27FC236}">
                <a16:creationId xmlns:a16="http://schemas.microsoft.com/office/drawing/2014/main" id="{40494B78-FF4E-354F-A7F1-EEAD94008885}"/>
              </a:ext>
            </a:extLst>
          </p:cNvPr>
          <p:cNvSpPr txBox="1"/>
          <p:nvPr userDrawn="1"/>
        </p:nvSpPr>
        <p:spPr>
          <a:xfrm>
            <a:off x="10047498" y="2718045"/>
            <a:ext cx="686953" cy="436855"/>
          </a:xfrm>
          <a:prstGeom prst="rect">
            <a:avLst/>
          </a:prstGeom>
          <a:noFill/>
        </p:spPr>
        <p:txBody>
          <a:bodyPr wrap="square" rtlCol="0">
            <a:noAutofit/>
          </a:bodyPr>
          <a:lstStyle/>
          <a:p>
            <a:pPr marL="10584">
              <a:spcAft>
                <a:spcPts val="800"/>
              </a:spcAft>
            </a:pPr>
            <a:r>
              <a:rPr lang="nl-BE" sz="5333" b="0" dirty="0">
                <a:solidFill>
                  <a:schemeClr val="bg1"/>
                </a:solidFill>
                <a:latin typeface="+mn-lt"/>
                <a:ea typeface="Roboto" panose="02000000000000000000" pitchFamily="2" charset="0"/>
                <a:cs typeface="Roboto" panose="02000000000000000000" pitchFamily="2" charset="0"/>
              </a:rPr>
              <a:t>“</a:t>
            </a:r>
            <a:endParaRPr sz="5333" b="0" dirty="0">
              <a:solidFill>
                <a:schemeClr val="bg1"/>
              </a:solidFill>
              <a:latin typeface="+mn-lt"/>
              <a:ea typeface="Roboto" panose="02000000000000000000" pitchFamily="2" charset="0"/>
              <a:cs typeface="Roboto" panose="02000000000000000000" pitchFamily="2" charset="0"/>
            </a:endParaRPr>
          </a:p>
        </p:txBody>
      </p:sp>
      <p:sp>
        <p:nvSpPr>
          <p:cNvPr id="24" name="Text Placeholder 22">
            <a:extLst>
              <a:ext uri="{FF2B5EF4-FFF2-40B4-BE49-F238E27FC236}">
                <a16:creationId xmlns:a16="http://schemas.microsoft.com/office/drawing/2014/main" id="{F1AC5ACC-9975-A243-8B19-E444170272BF}"/>
              </a:ext>
            </a:extLst>
          </p:cNvPr>
          <p:cNvSpPr>
            <a:spLocks noGrp="1"/>
          </p:cNvSpPr>
          <p:nvPr>
            <p:ph type="body" sz="quarter" idx="11" hasCustomPrompt="1"/>
          </p:nvPr>
        </p:nvSpPr>
        <p:spPr>
          <a:xfrm>
            <a:off x="9561136" y="3170626"/>
            <a:ext cx="1527349" cy="1062708"/>
          </a:xfrm>
          <a:prstGeom prst="rect">
            <a:avLst/>
          </a:prstGeom>
        </p:spPr>
        <p:txBody>
          <a:bodyPr/>
          <a:lstStyle>
            <a:lvl1pPr marL="0" indent="0" algn="ctr">
              <a:buNone/>
              <a:defRPr sz="1333">
                <a:solidFill>
                  <a:schemeClr val="bg1"/>
                </a:solidFill>
                <a:latin typeface="+mn-lt"/>
                <a:ea typeface="Roboto" panose="02000000000000000000" pitchFamily="2" charset="0"/>
              </a:defRPr>
            </a:lvl1pPr>
            <a:lvl2pPr algn="ctr">
              <a:defRPr sz="1600">
                <a:solidFill>
                  <a:schemeClr val="bg1"/>
                </a:solidFill>
                <a:latin typeface="Roboto" panose="02000000000000000000" pitchFamily="2" charset="0"/>
                <a:ea typeface="Roboto" panose="02000000000000000000" pitchFamily="2" charset="0"/>
              </a:defRPr>
            </a:lvl2pPr>
            <a:lvl3pPr algn="ctr">
              <a:defRPr sz="1600">
                <a:solidFill>
                  <a:schemeClr val="bg1"/>
                </a:solidFill>
                <a:latin typeface="Roboto" panose="02000000000000000000" pitchFamily="2" charset="0"/>
                <a:ea typeface="Roboto" panose="02000000000000000000" pitchFamily="2" charset="0"/>
              </a:defRPr>
            </a:lvl3pPr>
            <a:lvl4pPr algn="ctr">
              <a:defRPr sz="1600">
                <a:solidFill>
                  <a:schemeClr val="bg1"/>
                </a:solidFill>
                <a:latin typeface="Roboto" panose="02000000000000000000" pitchFamily="2" charset="0"/>
                <a:ea typeface="Roboto" panose="02000000000000000000" pitchFamily="2" charset="0"/>
              </a:defRPr>
            </a:lvl4pPr>
            <a:lvl5pPr algn="ctr">
              <a:defRPr sz="1600">
                <a:solidFill>
                  <a:schemeClr val="bg1"/>
                </a:solidFill>
                <a:latin typeface="Roboto" panose="02000000000000000000" pitchFamily="2" charset="0"/>
                <a:ea typeface="Roboto" panose="02000000000000000000" pitchFamily="2" charset="0"/>
              </a:defRPr>
            </a:lvl5pPr>
          </a:lstStyle>
          <a:p>
            <a:pPr lvl="0"/>
            <a:r>
              <a:rPr lang="en-US" dirty="0"/>
              <a:t>Click to add text</a:t>
            </a:r>
          </a:p>
        </p:txBody>
      </p:sp>
      <p:sp>
        <p:nvSpPr>
          <p:cNvPr id="25" name="Text Placeholder 22">
            <a:extLst>
              <a:ext uri="{FF2B5EF4-FFF2-40B4-BE49-F238E27FC236}">
                <a16:creationId xmlns:a16="http://schemas.microsoft.com/office/drawing/2014/main" id="{E8A2CA3C-C42F-DF40-B3A4-A1545DC1C567}"/>
              </a:ext>
            </a:extLst>
          </p:cNvPr>
          <p:cNvSpPr>
            <a:spLocks noGrp="1"/>
          </p:cNvSpPr>
          <p:nvPr>
            <p:ph type="body" sz="quarter" idx="12" hasCustomPrompt="1"/>
          </p:nvPr>
        </p:nvSpPr>
        <p:spPr>
          <a:xfrm>
            <a:off x="7610416" y="2995490"/>
            <a:ext cx="1527349" cy="1393631"/>
          </a:xfrm>
          <a:prstGeom prst="rect">
            <a:avLst/>
          </a:prstGeom>
        </p:spPr>
        <p:txBody>
          <a:bodyPr/>
          <a:lstStyle>
            <a:lvl1pPr marL="0" indent="0" algn="ctr">
              <a:buNone/>
              <a:defRPr sz="1333">
                <a:solidFill>
                  <a:schemeClr val="bg1"/>
                </a:solidFill>
                <a:latin typeface="+mn-lt"/>
                <a:ea typeface="Roboto" panose="02000000000000000000" pitchFamily="2" charset="0"/>
              </a:defRPr>
            </a:lvl1pPr>
            <a:lvl2pPr algn="ctr">
              <a:defRPr sz="1600">
                <a:solidFill>
                  <a:schemeClr val="bg1"/>
                </a:solidFill>
                <a:latin typeface="Roboto" panose="02000000000000000000" pitchFamily="2" charset="0"/>
                <a:ea typeface="Roboto" panose="02000000000000000000" pitchFamily="2" charset="0"/>
              </a:defRPr>
            </a:lvl2pPr>
            <a:lvl3pPr algn="ctr">
              <a:defRPr sz="1600">
                <a:solidFill>
                  <a:schemeClr val="bg1"/>
                </a:solidFill>
                <a:latin typeface="Roboto" panose="02000000000000000000" pitchFamily="2" charset="0"/>
                <a:ea typeface="Roboto" panose="02000000000000000000" pitchFamily="2" charset="0"/>
              </a:defRPr>
            </a:lvl3pPr>
            <a:lvl4pPr algn="ctr">
              <a:defRPr sz="1600">
                <a:solidFill>
                  <a:schemeClr val="bg1"/>
                </a:solidFill>
                <a:latin typeface="Roboto" panose="02000000000000000000" pitchFamily="2" charset="0"/>
                <a:ea typeface="Roboto" panose="02000000000000000000" pitchFamily="2" charset="0"/>
              </a:defRPr>
            </a:lvl4pPr>
            <a:lvl5pPr algn="ctr">
              <a:defRPr sz="1600">
                <a:solidFill>
                  <a:schemeClr val="bg1"/>
                </a:solidFill>
                <a:latin typeface="Roboto" panose="02000000000000000000" pitchFamily="2" charset="0"/>
                <a:ea typeface="Roboto" panose="02000000000000000000" pitchFamily="2" charset="0"/>
              </a:defRPr>
            </a:lvl5pPr>
          </a:lstStyle>
          <a:p>
            <a:pPr lvl="0"/>
            <a:r>
              <a:rPr lang="en-US" dirty="0"/>
              <a:t>Click to add text</a:t>
            </a:r>
          </a:p>
        </p:txBody>
      </p:sp>
      <p:sp>
        <p:nvSpPr>
          <p:cNvPr id="26" name="Text Placeholder 22">
            <a:extLst>
              <a:ext uri="{FF2B5EF4-FFF2-40B4-BE49-F238E27FC236}">
                <a16:creationId xmlns:a16="http://schemas.microsoft.com/office/drawing/2014/main" id="{3CE4D240-BC07-C74D-9B46-C91DF18891FF}"/>
              </a:ext>
            </a:extLst>
          </p:cNvPr>
          <p:cNvSpPr>
            <a:spLocks noGrp="1"/>
          </p:cNvSpPr>
          <p:nvPr>
            <p:ph type="body" sz="quarter" idx="13" hasCustomPrompt="1"/>
          </p:nvPr>
        </p:nvSpPr>
        <p:spPr>
          <a:xfrm>
            <a:off x="5013713" y="2718045"/>
            <a:ext cx="2194048" cy="1683092"/>
          </a:xfrm>
          <a:prstGeom prst="rect">
            <a:avLst/>
          </a:prstGeom>
        </p:spPr>
        <p:txBody>
          <a:bodyPr/>
          <a:lstStyle>
            <a:lvl1pPr marL="0" indent="0" algn="ctr">
              <a:buNone/>
              <a:defRPr sz="1333">
                <a:solidFill>
                  <a:schemeClr val="bg1"/>
                </a:solidFill>
                <a:latin typeface="+mn-lt"/>
                <a:ea typeface="Roboto" panose="02000000000000000000" pitchFamily="2" charset="0"/>
              </a:defRPr>
            </a:lvl1pPr>
            <a:lvl2pPr algn="ctr">
              <a:defRPr sz="1600">
                <a:solidFill>
                  <a:schemeClr val="bg1"/>
                </a:solidFill>
                <a:latin typeface="Roboto" panose="02000000000000000000" pitchFamily="2" charset="0"/>
                <a:ea typeface="Roboto" panose="02000000000000000000" pitchFamily="2" charset="0"/>
              </a:defRPr>
            </a:lvl2pPr>
            <a:lvl3pPr algn="ctr">
              <a:defRPr sz="1600">
                <a:solidFill>
                  <a:schemeClr val="bg1"/>
                </a:solidFill>
                <a:latin typeface="Roboto" panose="02000000000000000000" pitchFamily="2" charset="0"/>
                <a:ea typeface="Roboto" panose="02000000000000000000" pitchFamily="2" charset="0"/>
              </a:defRPr>
            </a:lvl3pPr>
            <a:lvl4pPr algn="ctr">
              <a:defRPr sz="1600">
                <a:solidFill>
                  <a:schemeClr val="bg1"/>
                </a:solidFill>
                <a:latin typeface="Roboto" panose="02000000000000000000" pitchFamily="2" charset="0"/>
                <a:ea typeface="Roboto" panose="02000000000000000000" pitchFamily="2" charset="0"/>
              </a:defRPr>
            </a:lvl4pPr>
            <a:lvl5pPr algn="ctr">
              <a:defRPr sz="1600">
                <a:solidFill>
                  <a:schemeClr val="bg1"/>
                </a:solidFill>
                <a:latin typeface="Roboto" panose="02000000000000000000" pitchFamily="2" charset="0"/>
                <a:ea typeface="Roboto" panose="02000000000000000000" pitchFamily="2" charset="0"/>
              </a:defRPr>
            </a:lvl5pPr>
          </a:lstStyle>
          <a:p>
            <a:pPr lvl="0"/>
            <a:r>
              <a:rPr lang="en-US" dirty="0"/>
              <a:t>Click to add text</a:t>
            </a:r>
          </a:p>
        </p:txBody>
      </p:sp>
      <p:sp>
        <p:nvSpPr>
          <p:cNvPr id="28" name="TextBox 27">
            <a:extLst>
              <a:ext uri="{FF2B5EF4-FFF2-40B4-BE49-F238E27FC236}">
                <a16:creationId xmlns:a16="http://schemas.microsoft.com/office/drawing/2014/main" id="{612904AF-8121-9649-91DA-B9B312476960}"/>
              </a:ext>
            </a:extLst>
          </p:cNvPr>
          <p:cNvSpPr txBox="1"/>
          <p:nvPr userDrawn="1"/>
        </p:nvSpPr>
        <p:spPr>
          <a:xfrm>
            <a:off x="3474319" y="2558635"/>
            <a:ext cx="546744" cy="436855"/>
          </a:xfrm>
          <a:prstGeom prst="rect">
            <a:avLst/>
          </a:prstGeom>
          <a:noFill/>
        </p:spPr>
        <p:txBody>
          <a:bodyPr wrap="square" rtlCol="0">
            <a:noAutofit/>
          </a:bodyPr>
          <a:lstStyle/>
          <a:p>
            <a:pPr marL="10584">
              <a:spcAft>
                <a:spcPts val="800"/>
              </a:spcAft>
            </a:pPr>
            <a:r>
              <a:rPr lang="nl-BE" sz="5333" b="0" dirty="0">
                <a:solidFill>
                  <a:schemeClr val="bg1"/>
                </a:solidFill>
                <a:latin typeface="+mn-lt"/>
                <a:ea typeface="Roboto" panose="02000000000000000000" pitchFamily="2" charset="0"/>
                <a:cs typeface="Roboto" panose="02000000000000000000" pitchFamily="2" charset="0"/>
              </a:rPr>
              <a:t>“</a:t>
            </a:r>
            <a:endParaRPr sz="5333" b="0" dirty="0">
              <a:solidFill>
                <a:schemeClr val="bg1"/>
              </a:solidFill>
              <a:latin typeface="+mn-lt"/>
              <a:ea typeface="Roboto" panose="02000000000000000000" pitchFamily="2" charset="0"/>
              <a:cs typeface="Roboto" panose="02000000000000000000" pitchFamily="2" charset="0"/>
            </a:endParaRPr>
          </a:p>
        </p:txBody>
      </p:sp>
      <p:sp>
        <p:nvSpPr>
          <p:cNvPr id="29" name="Text Placeholder 22">
            <a:extLst>
              <a:ext uri="{FF2B5EF4-FFF2-40B4-BE49-F238E27FC236}">
                <a16:creationId xmlns:a16="http://schemas.microsoft.com/office/drawing/2014/main" id="{82807125-0331-CB45-92D8-556F8B847200}"/>
              </a:ext>
            </a:extLst>
          </p:cNvPr>
          <p:cNvSpPr>
            <a:spLocks noGrp="1"/>
          </p:cNvSpPr>
          <p:nvPr>
            <p:ph type="body" sz="quarter" idx="14" hasCustomPrompt="1"/>
          </p:nvPr>
        </p:nvSpPr>
        <p:spPr>
          <a:xfrm>
            <a:off x="2989255" y="2995490"/>
            <a:ext cx="1527349" cy="1393631"/>
          </a:xfrm>
          <a:prstGeom prst="rect">
            <a:avLst/>
          </a:prstGeom>
        </p:spPr>
        <p:txBody>
          <a:bodyPr/>
          <a:lstStyle>
            <a:lvl1pPr marL="0" indent="0" algn="ctr">
              <a:buNone/>
              <a:defRPr sz="1333">
                <a:solidFill>
                  <a:schemeClr val="bg1"/>
                </a:solidFill>
                <a:latin typeface="+mn-lt"/>
                <a:ea typeface="Roboto" panose="02000000000000000000" pitchFamily="2" charset="0"/>
              </a:defRPr>
            </a:lvl1pPr>
            <a:lvl2pPr algn="ctr">
              <a:defRPr sz="1600">
                <a:solidFill>
                  <a:schemeClr val="bg1"/>
                </a:solidFill>
                <a:latin typeface="Roboto" panose="02000000000000000000" pitchFamily="2" charset="0"/>
                <a:ea typeface="Roboto" panose="02000000000000000000" pitchFamily="2" charset="0"/>
              </a:defRPr>
            </a:lvl2pPr>
            <a:lvl3pPr algn="ctr">
              <a:defRPr sz="1600">
                <a:solidFill>
                  <a:schemeClr val="bg1"/>
                </a:solidFill>
                <a:latin typeface="Roboto" panose="02000000000000000000" pitchFamily="2" charset="0"/>
                <a:ea typeface="Roboto" panose="02000000000000000000" pitchFamily="2" charset="0"/>
              </a:defRPr>
            </a:lvl3pPr>
            <a:lvl4pPr algn="ctr">
              <a:defRPr sz="1600">
                <a:solidFill>
                  <a:schemeClr val="bg1"/>
                </a:solidFill>
                <a:latin typeface="Roboto" panose="02000000000000000000" pitchFamily="2" charset="0"/>
                <a:ea typeface="Roboto" panose="02000000000000000000" pitchFamily="2" charset="0"/>
              </a:defRPr>
            </a:lvl4pPr>
            <a:lvl5pPr algn="ctr">
              <a:defRPr sz="1600">
                <a:solidFill>
                  <a:schemeClr val="bg1"/>
                </a:solidFill>
                <a:latin typeface="Roboto" panose="02000000000000000000" pitchFamily="2" charset="0"/>
                <a:ea typeface="Roboto" panose="02000000000000000000" pitchFamily="2" charset="0"/>
              </a:defRPr>
            </a:lvl5pPr>
          </a:lstStyle>
          <a:p>
            <a:pPr lvl="0"/>
            <a:r>
              <a:rPr lang="en-US" dirty="0"/>
              <a:t>Click to add text</a:t>
            </a:r>
          </a:p>
        </p:txBody>
      </p:sp>
      <p:sp>
        <p:nvSpPr>
          <p:cNvPr id="31" name="Text Placeholder 22">
            <a:extLst>
              <a:ext uri="{FF2B5EF4-FFF2-40B4-BE49-F238E27FC236}">
                <a16:creationId xmlns:a16="http://schemas.microsoft.com/office/drawing/2014/main" id="{C5DE523A-D36B-E348-8CF1-624E16DF2F5B}"/>
              </a:ext>
            </a:extLst>
          </p:cNvPr>
          <p:cNvSpPr>
            <a:spLocks noGrp="1"/>
          </p:cNvSpPr>
          <p:nvPr>
            <p:ph type="body" sz="quarter" idx="15" hasCustomPrompt="1"/>
          </p:nvPr>
        </p:nvSpPr>
        <p:spPr>
          <a:xfrm>
            <a:off x="1007072" y="3170626"/>
            <a:ext cx="1527349" cy="1062708"/>
          </a:xfrm>
          <a:prstGeom prst="rect">
            <a:avLst/>
          </a:prstGeom>
        </p:spPr>
        <p:txBody>
          <a:bodyPr/>
          <a:lstStyle>
            <a:lvl1pPr marL="0" indent="0" algn="ctr">
              <a:buNone/>
              <a:defRPr sz="1333">
                <a:solidFill>
                  <a:schemeClr val="bg1"/>
                </a:solidFill>
                <a:latin typeface="+mn-lt"/>
                <a:ea typeface="Roboto" panose="02000000000000000000" pitchFamily="2" charset="0"/>
              </a:defRPr>
            </a:lvl1pPr>
            <a:lvl2pPr algn="ctr">
              <a:defRPr sz="1600">
                <a:solidFill>
                  <a:schemeClr val="bg1"/>
                </a:solidFill>
                <a:latin typeface="Roboto" panose="02000000000000000000" pitchFamily="2" charset="0"/>
                <a:ea typeface="Roboto" panose="02000000000000000000" pitchFamily="2" charset="0"/>
              </a:defRPr>
            </a:lvl2pPr>
            <a:lvl3pPr algn="ctr">
              <a:defRPr sz="1600">
                <a:solidFill>
                  <a:schemeClr val="bg1"/>
                </a:solidFill>
                <a:latin typeface="Roboto" panose="02000000000000000000" pitchFamily="2" charset="0"/>
                <a:ea typeface="Roboto" panose="02000000000000000000" pitchFamily="2" charset="0"/>
              </a:defRPr>
            </a:lvl3pPr>
            <a:lvl4pPr algn="ctr">
              <a:defRPr sz="1600">
                <a:solidFill>
                  <a:schemeClr val="bg1"/>
                </a:solidFill>
                <a:latin typeface="Roboto" panose="02000000000000000000" pitchFamily="2" charset="0"/>
                <a:ea typeface="Roboto" panose="02000000000000000000" pitchFamily="2" charset="0"/>
              </a:defRPr>
            </a:lvl4pPr>
            <a:lvl5pPr algn="ctr">
              <a:defRPr sz="1600">
                <a:solidFill>
                  <a:schemeClr val="bg1"/>
                </a:solidFill>
                <a:latin typeface="Roboto" panose="02000000000000000000" pitchFamily="2" charset="0"/>
                <a:ea typeface="Roboto" panose="02000000000000000000" pitchFamily="2" charset="0"/>
              </a:defRPr>
            </a:lvl5pPr>
          </a:lstStyle>
          <a:p>
            <a:pPr lvl="0"/>
            <a:r>
              <a:rPr lang="en-US" dirty="0"/>
              <a:t>Click to add text</a:t>
            </a:r>
          </a:p>
        </p:txBody>
      </p:sp>
      <p:sp>
        <p:nvSpPr>
          <p:cNvPr id="32" name="TextBox 31">
            <a:extLst>
              <a:ext uri="{FF2B5EF4-FFF2-40B4-BE49-F238E27FC236}">
                <a16:creationId xmlns:a16="http://schemas.microsoft.com/office/drawing/2014/main" id="{DFAAC493-EE21-3C42-84BF-C69A6FC5024C}"/>
              </a:ext>
            </a:extLst>
          </p:cNvPr>
          <p:cNvSpPr txBox="1"/>
          <p:nvPr userDrawn="1"/>
        </p:nvSpPr>
        <p:spPr>
          <a:xfrm>
            <a:off x="1468951" y="2700049"/>
            <a:ext cx="546744" cy="436855"/>
          </a:xfrm>
          <a:prstGeom prst="rect">
            <a:avLst/>
          </a:prstGeom>
          <a:noFill/>
        </p:spPr>
        <p:txBody>
          <a:bodyPr wrap="square" rtlCol="0">
            <a:noAutofit/>
          </a:bodyPr>
          <a:lstStyle/>
          <a:p>
            <a:pPr marL="10584">
              <a:spcAft>
                <a:spcPts val="800"/>
              </a:spcAft>
            </a:pPr>
            <a:r>
              <a:rPr lang="nl-BE" sz="5333" b="0" dirty="0">
                <a:solidFill>
                  <a:schemeClr val="bg1"/>
                </a:solidFill>
                <a:latin typeface="+mn-lt"/>
                <a:ea typeface="Roboto" panose="02000000000000000000" pitchFamily="2" charset="0"/>
                <a:cs typeface="Roboto" panose="02000000000000000000" pitchFamily="2" charset="0"/>
              </a:rPr>
              <a:t>“</a:t>
            </a:r>
            <a:endParaRPr sz="5333" b="0" dirty="0">
              <a:solidFill>
                <a:schemeClr val="bg1"/>
              </a:solidFill>
              <a:latin typeface="+mn-lt"/>
              <a:ea typeface="Roboto" panose="02000000000000000000" pitchFamily="2" charset="0"/>
              <a:cs typeface="Roboto" panose="02000000000000000000" pitchFamily="2" charset="0"/>
            </a:endParaRPr>
          </a:p>
        </p:txBody>
      </p:sp>
      <p:grpSp>
        <p:nvGrpSpPr>
          <p:cNvPr id="36" name="Graphic 6">
            <a:extLst>
              <a:ext uri="{FF2B5EF4-FFF2-40B4-BE49-F238E27FC236}">
                <a16:creationId xmlns:a16="http://schemas.microsoft.com/office/drawing/2014/main" id="{CD1A3535-A71D-4E16-B44A-D65D15B149A8}"/>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7" name="Freeform: Shape 36">
              <a:extLst>
                <a:ext uri="{FF2B5EF4-FFF2-40B4-BE49-F238E27FC236}">
                  <a16:creationId xmlns:a16="http://schemas.microsoft.com/office/drawing/2014/main" id="{CAD5105B-A728-48DB-B6DB-F89620B8DCEC}"/>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8" name="Freeform: Shape 37">
              <a:extLst>
                <a:ext uri="{FF2B5EF4-FFF2-40B4-BE49-F238E27FC236}">
                  <a16:creationId xmlns:a16="http://schemas.microsoft.com/office/drawing/2014/main" id="{FCAC5C52-C109-4E8C-94B2-766C087AEA02}"/>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2" name="Title 10">
            <a:extLst>
              <a:ext uri="{FF2B5EF4-FFF2-40B4-BE49-F238E27FC236}">
                <a16:creationId xmlns:a16="http://schemas.microsoft.com/office/drawing/2014/main" id="{14C61226-4E10-4453-9CBE-BA82B8230866}"/>
              </a:ext>
            </a:extLst>
          </p:cNvPr>
          <p:cNvSpPr>
            <a:spLocks noGrp="1"/>
          </p:cNvSpPr>
          <p:nvPr>
            <p:ph type="title" hasCustomPrompt="1"/>
          </p:nvPr>
        </p:nvSpPr>
        <p:spPr>
          <a:xfrm>
            <a:off x="524112" y="534243"/>
            <a:ext cx="8696328"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ekstballonnen</a:t>
            </a:r>
            <a:endParaRPr lang="en-GB" noProof="0" dirty="0"/>
          </a:p>
        </p:txBody>
      </p:sp>
    </p:spTree>
    <p:extLst>
      <p:ext uri="{BB962C8B-B14F-4D97-AF65-F5344CB8AC3E}">
        <p14:creationId xmlns:p14="http://schemas.microsoft.com/office/powerpoint/2010/main" val="39765184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Xerius cijfer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B9B3AB-1D02-3B40-8A0C-503267F60FF2}"/>
              </a:ext>
            </a:extLst>
          </p:cNvPr>
          <p:cNvPicPr>
            <a:picLocks/>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388" cy="6858000"/>
          </a:xfrm>
          <a:prstGeom prst="rect">
            <a:avLst/>
          </a:prstGeom>
        </p:spPr>
      </p:pic>
      <p:sp>
        <p:nvSpPr>
          <p:cNvPr id="47" name="Text Placeholder 46">
            <a:extLst>
              <a:ext uri="{FF2B5EF4-FFF2-40B4-BE49-F238E27FC236}">
                <a16:creationId xmlns:a16="http://schemas.microsoft.com/office/drawing/2014/main" id="{AE948D10-A2C4-484B-A2C0-9E3423691E3E}"/>
              </a:ext>
            </a:extLst>
          </p:cNvPr>
          <p:cNvSpPr>
            <a:spLocks noGrp="1"/>
          </p:cNvSpPr>
          <p:nvPr>
            <p:ph type="body" sz="quarter" idx="15" hasCustomPrompt="1"/>
          </p:nvPr>
        </p:nvSpPr>
        <p:spPr>
          <a:xfrm>
            <a:off x="8951935" y="750977"/>
            <a:ext cx="1938316" cy="364473"/>
          </a:xfrm>
          <a:prstGeom prst="rect">
            <a:avLst/>
          </a:prstGeom>
        </p:spPr>
        <p:txBody>
          <a:bodyPr/>
          <a:lstStyle>
            <a:lvl1pPr marL="0" indent="0" algn="r">
              <a:buFont typeface="Arial" panose="020B0604020202020204" pitchFamily="34" charset="0"/>
              <a:buNone/>
              <a:defRPr sz="2667" b="1">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100</a:t>
            </a:r>
            <a:endParaRPr dirty="0"/>
          </a:p>
        </p:txBody>
      </p:sp>
      <p:sp>
        <p:nvSpPr>
          <p:cNvPr id="48" name="Text Placeholder 46">
            <a:extLst>
              <a:ext uri="{FF2B5EF4-FFF2-40B4-BE49-F238E27FC236}">
                <a16:creationId xmlns:a16="http://schemas.microsoft.com/office/drawing/2014/main" id="{0C8760D3-6A21-284B-9416-390307CBC1C9}"/>
              </a:ext>
            </a:extLst>
          </p:cNvPr>
          <p:cNvSpPr>
            <a:spLocks noGrp="1"/>
          </p:cNvSpPr>
          <p:nvPr>
            <p:ph type="body" sz="quarter" idx="16" hasCustomPrompt="1"/>
          </p:nvPr>
        </p:nvSpPr>
        <p:spPr>
          <a:xfrm>
            <a:off x="8951935" y="1145068"/>
            <a:ext cx="1938316" cy="309225"/>
          </a:xfrm>
          <a:prstGeom prst="rect">
            <a:avLst/>
          </a:prstGeom>
        </p:spPr>
        <p:txBody>
          <a:bodyPr/>
          <a:lstStyle>
            <a:lvl1pPr marL="0" indent="0" algn="r">
              <a:buFont typeface="Arial" panose="020B0604020202020204" pitchFamily="34" charset="0"/>
              <a:buNone/>
              <a:defRPr sz="1600" b="0">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1</a:t>
            </a:r>
            <a:endParaRPr dirty="0"/>
          </a:p>
        </p:txBody>
      </p:sp>
      <p:sp>
        <p:nvSpPr>
          <p:cNvPr id="49" name="Text Placeholder 46">
            <a:extLst>
              <a:ext uri="{FF2B5EF4-FFF2-40B4-BE49-F238E27FC236}">
                <a16:creationId xmlns:a16="http://schemas.microsoft.com/office/drawing/2014/main" id="{BCB22A62-17DA-1C4D-8D1B-9A0CAECD848B}"/>
              </a:ext>
            </a:extLst>
          </p:cNvPr>
          <p:cNvSpPr>
            <a:spLocks noGrp="1"/>
          </p:cNvSpPr>
          <p:nvPr>
            <p:ph type="body" sz="quarter" idx="17" hasCustomPrompt="1"/>
          </p:nvPr>
        </p:nvSpPr>
        <p:spPr>
          <a:xfrm>
            <a:off x="8951935" y="1953476"/>
            <a:ext cx="1938316" cy="364473"/>
          </a:xfrm>
          <a:prstGeom prst="rect">
            <a:avLst/>
          </a:prstGeom>
        </p:spPr>
        <p:txBody>
          <a:bodyPr/>
          <a:lstStyle>
            <a:lvl1pPr marL="0" indent="0" algn="r">
              <a:buFont typeface="Arial" panose="020B0604020202020204" pitchFamily="34" charset="0"/>
              <a:buNone/>
              <a:defRPr sz="2667" b="1">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250</a:t>
            </a:r>
            <a:endParaRPr dirty="0"/>
          </a:p>
        </p:txBody>
      </p:sp>
      <p:sp>
        <p:nvSpPr>
          <p:cNvPr id="50" name="Text Placeholder 46">
            <a:extLst>
              <a:ext uri="{FF2B5EF4-FFF2-40B4-BE49-F238E27FC236}">
                <a16:creationId xmlns:a16="http://schemas.microsoft.com/office/drawing/2014/main" id="{5635146F-2037-2444-924D-C33CD586A6F7}"/>
              </a:ext>
            </a:extLst>
          </p:cNvPr>
          <p:cNvSpPr>
            <a:spLocks noGrp="1"/>
          </p:cNvSpPr>
          <p:nvPr>
            <p:ph type="body" sz="quarter" idx="18" hasCustomPrompt="1"/>
          </p:nvPr>
        </p:nvSpPr>
        <p:spPr>
          <a:xfrm>
            <a:off x="8951935" y="2347566"/>
            <a:ext cx="1938316" cy="309225"/>
          </a:xfrm>
          <a:prstGeom prst="rect">
            <a:avLst/>
          </a:prstGeom>
        </p:spPr>
        <p:txBody>
          <a:bodyPr/>
          <a:lstStyle>
            <a:lvl1pPr marL="0" indent="0" algn="r">
              <a:buFont typeface="Arial" panose="020B0604020202020204" pitchFamily="34" charset="0"/>
              <a:buNone/>
              <a:defRPr sz="1600" b="0">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2</a:t>
            </a:r>
            <a:endParaRPr dirty="0"/>
          </a:p>
        </p:txBody>
      </p:sp>
      <p:sp>
        <p:nvSpPr>
          <p:cNvPr id="51" name="Text Placeholder 46">
            <a:extLst>
              <a:ext uri="{FF2B5EF4-FFF2-40B4-BE49-F238E27FC236}">
                <a16:creationId xmlns:a16="http://schemas.microsoft.com/office/drawing/2014/main" id="{64050924-DA31-9646-9327-A7A66F365DE1}"/>
              </a:ext>
            </a:extLst>
          </p:cNvPr>
          <p:cNvSpPr>
            <a:spLocks noGrp="1"/>
          </p:cNvSpPr>
          <p:nvPr>
            <p:ph type="body" sz="quarter" idx="19" hasCustomPrompt="1"/>
          </p:nvPr>
        </p:nvSpPr>
        <p:spPr>
          <a:xfrm>
            <a:off x="8951935" y="3005662"/>
            <a:ext cx="1938316" cy="364473"/>
          </a:xfrm>
          <a:prstGeom prst="rect">
            <a:avLst/>
          </a:prstGeom>
        </p:spPr>
        <p:txBody>
          <a:bodyPr/>
          <a:lstStyle>
            <a:lvl1pPr marL="0" indent="0" algn="r">
              <a:buFont typeface="Arial" panose="020B0604020202020204" pitchFamily="34" charset="0"/>
              <a:buNone/>
              <a:defRPr sz="2667" b="1">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60</a:t>
            </a:r>
            <a:endParaRPr dirty="0"/>
          </a:p>
        </p:txBody>
      </p:sp>
      <p:sp>
        <p:nvSpPr>
          <p:cNvPr id="52" name="Text Placeholder 46">
            <a:extLst>
              <a:ext uri="{FF2B5EF4-FFF2-40B4-BE49-F238E27FC236}">
                <a16:creationId xmlns:a16="http://schemas.microsoft.com/office/drawing/2014/main" id="{1A635BAE-5C76-D941-8849-037457228D96}"/>
              </a:ext>
            </a:extLst>
          </p:cNvPr>
          <p:cNvSpPr>
            <a:spLocks noGrp="1"/>
          </p:cNvSpPr>
          <p:nvPr>
            <p:ph type="body" sz="quarter" idx="20" hasCustomPrompt="1"/>
          </p:nvPr>
        </p:nvSpPr>
        <p:spPr>
          <a:xfrm>
            <a:off x="8951935" y="3399753"/>
            <a:ext cx="1938316" cy="309225"/>
          </a:xfrm>
          <a:prstGeom prst="rect">
            <a:avLst/>
          </a:prstGeom>
        </p:spPr>
        <p:txBody>
          <a:bodyPr/>
          <a:lstStyle>
            <a:lvl1pPr marL="0" indent="0" algn="r">
              <a:buFont typeface="Arial" panose="020B0604020202020204" pitchFamily="34" charset="0"/>
              <a:buNone/>
              <a:defRPr sz="1600" b="0">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3</a:t>
            </a:r>
            <a:endParaRPr dirty="0"/>
          </a:p>
        </p:txBody>
      </p:sp>
      <p:sp>
        <p:nvSpPr>
          <p:cNvPr id="53" name="Text Placeholder 46">
            <a:extLst>
              <a:ext uri="{FF2B5EF4-FFF2-40B4-BE49-F238E27FC236}">
                <a16:creationId xmlns:a16="http://schemas.microsoft.com/office/drawing/2014/main" id="{3F0B4B25-CB9A-0E4B-BD4E-E0D3B896A830}"/>
              </a:ext>
            </a:extLst>
          </p:cNvPr>
          <p:cNvSpPr>
            <a:spLocks noGrp="1"/>
          </p:cNvSpPr>
          <p:nvPr>
            <p:ph type="body" sz="quarter" idx="21" hasCustomPrompt="1"/>
          </p:nvPr>
        </p:nvSpPr>
        <p:spPr>
          <a:xfrm>
            <a:off x="8951935" y="4174758"/>
            <a:ext cx="1938316" cy="364473"/>
          </a:xfrm>
          <a:prstGeom prst="rect">
            <a:avLst/>
          </a:prstGeom>
        </p:spPr>
        <p:txBody>
          <a:bodyPr/>
          <a:lstStyle>
            <a:lvl1pPr marL="0" indent="0" algn="r">
              <a:buFont typeface="Arial" panose="020B0604020202020204" pitchFamily="34" charset="0"/>
              <a:buNone/>
              <a:defRPr sz="2667" b="1">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20</a:t>
            </a:r>
            <a:endParaRPr dirty="0"/>
          </a:p>
        </p:txBody>
      </p:sp>
      <p:sp>
        <p:nvSpPr>
          <p:cNvPr id="54" name="Text Placeholder 46">
            <a:extLst>
              <a:ext uri="{FF2B5EF4-FFF2-40B4-BE49-F238E27FC236}">
                <a16:creationId xmlns:a16="http://schemas.microsoft.com/office/drawing/2014/main" id="{C5AB13AC-BE4A-C44D-A15A-F9BC88F5A0ED}"/>
              </a:ext>
            </a:extLst>
          </p:cNvPr>
          <p:cNvSpPr>
            <a:spLocks noGrp="1"/>
          </p:cNvSpPr>
          <p:nvPr>
            <p:ph type="body" sz="quarter" idx="22" hasCustomPrompt="1"/>
          </p:nvPr>
        </p:nvSpPr>
        <p:spPr>
          <a:xfrm>
            <a:off x="8951935" y="4568849"/>
            <a:ext cx="1938316" cy="309225"/>
          </a:xfrm>
          <a:prstGeom prst="rect">
            <a:avLst/>
          </a:prstGeom>
        </p:spPr>
        <p:txBody>
          <a:bodyPr/>
          <a:lstStyle>
            <a:lvl1pPr marL="0" indent="0" algn="r">
              <a:buFont typeface="Arial" panose="020B0604020202020204" pitchFamily="34" charset="0"/>
              <a:buNone/>
              <a:defRPr sz="1600" b="0">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4</a:t>
            </a:r>
            <a:endParaRPr dirty="0"/>
          </a:p>
        </p:txBody>
      </p:sp>
      <p:sp>
        <p:nvSpPr>
          <p:cNvPr id="55" name="Text Placeholder 46">
            <a:extLst>
              <a:ext uri="{FF2B5EF4-FFF2-40B4-BE49-F238E27FC236}">
                <a16:creationId xmlns:a16="http://schemas.microsoft.com/office/drawing/2014/main" id="{B1716843-B2FD-DB48-84BB-9CA07F1B6B6B}"/>
              </a:ext>
            </a:extLst>
          </p:cNvPr>
          <p:cNvSpPr>
            <a:spLocks noGrp="1"/>
          </p:cNvSpPr>
          <p:nvPr>
            <p:ph type="body" sz="quarter" idx="23" hasCustomPrompt="1"/>
          </p:nvPr>
        </p:nvSpPr>
        <p:spPr>
          <a:xfrm>
            <a:off x="8951935" y="5327153"/>
            <a:ext cx="1938316" cy="364473"/>
          </a:xfrm>
          <a:prstGeom prst="rect">
            <a:avLst/>
          </a:prstGeom>
        </p:spPr>
        <p:txBody>
          <a:bodyPr/>
          <a:lstStyle>
            <a:lvl1pPr marL="0" indent="0" algn="r">
              <a:buFont typeface="Arial" panose="020B0604020202020204" pitchFamily="34" charset="0"/>
              <a:buNone/>
              <a:defRPr sz="2667" b="1">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200</a:t>
            </a:r>
            <a:endParaRPr dirty="0"/>
          </a:p>
        </p:txBody>
      </p:sp>
      <p:sp>
        <p:nvSpPr>
          <p:cNvPr id="56" name="Text Placeholder 46">
            <a:extLst>
              <a:ext uri="{FF2B5EF4-FFF2-40B4-BE49-F238E27FC236}">
                <a16:creationId xmlns:a16="http://schemas.microsoft.com/office/drawing/2014/main" id="{CC742456-FBC1-1B42-A83C-F95CFF93142D}"/>
              </a:ext>
            </a:extLst>
          </p:cNvPr>
          <p:cNvSpPr>
            <a:spLocks noGrp="1"/>
          </p:cNvSpPr>
          <p:nvPr>
            <p:ph type="body" sz="quarter" idx="24" hasCustomPrompt="1"/>
          </p:nvPr>
        </p:nvSpPr>
        <p:spPr>
          <a:xfrm>
            <a:off x="8951935" y="5721244"/>
            <a:ext cx="1938316" cy="309225"/>
          </a:xfrm>
          <a:prstGeom prst="rect">
            <a:avLst/>
          </a:prstGeom>
        </p:spPr>
        <p:txBody>
          <a:bodyPr/>
          <a:lstStyle>
            <a:lvl1pPr marL="0" indent="0" algn="r">
              <a:buFont typeface="Arial" panose="020B0604020202020204" pitchFamily="34" charset="0"/>
              <a:buNone/>
              <a:defRPr sz="1600" b="0">
                <a:solidFill>
                  <a:schemeClr val="bg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5</a:t>
            </a:r>
            <a:endParaRPr dirty="0"/>
          </a:p>
        </p:txBody>
      </p:sp>
      <p:sp>
        <p:nvSpPr>
          <p:cNvPr id="59" name="Text Placeholder 46">
            <a:extLst>
              <a:ext uri="{FF2B5EF4-FFF2-40B4-BE49-F238E27FC236}">
                <a16:creationId xmlns:a16="http://schemas.microsoft.com/office/drawing/2014/main" id="{FA30D689-1DFB-F04B-8439-6D133DD357A3}"/>
              </a:ext>
            </a:extLst>
          </p:cNvPr>
          <p:cNvSpPr>
            <a:spLocks noGrp="1"/>
          </p:cNvSpPr>
          <p:nvPr>
            <p:ph type="body" sz="quarter" idx="26" hasCustomPrompt="1"/>
          </p:nvPr>
        </p:nvSpPr>
        <p:spPr>
          <a:xfrm>
            <a:off x="1487489" y="2064669"/>
            <a:ext cx="2995124" cy="364473"/>
          </a:xfrm>
          <a:prstGeom prst="rect">
            <a:avLst/>
          </a:prstGeom>
        </p:spPr>
        <p:txBody>
          <a:bodyPr anchor="ctr"/>
          <a:lstStyle>
            <a:lvl1pPr marL="0" indent="0" algn="l">
              <a:buFont typeface="Arial" panose="020B0604020202020204" pitchFamily="34" charset="0"/>
              <a:buNone/>
              <a:defRPr sz="2667" b="1">
                <a:solidFill>
                  <a:schemeClr val="bg2">
                    <a:lumMod val="90000"/>
                  </a:schemeClr>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120</a:t>
            </a:r>
            <a:endParaRPr dirty="0"/>
          </a:p>
        </p:txBody>
      </p:sp>
      <p:sp>
        <p:nvSpPr>
          <p:cNvPr id="60" name="Text Placeholder 46">
            <a:extLst>
              <a:ext uri="{FF2B5EF4-FFF2-40B4-BE49-F238E27FC236}">
                <a16:creationId xmlns:a16="http://schemas.microsoft.com/office/drawing/2014/main" id="{56A67C04-7DB2-6047-ABEF-C14CE0487E5B}"/>
              </a:ext>
            </a:extLst>
          </p:cNvPr>
          <p:cNvSpPr>
            <a:spLocks noGrp="1"/>
          </p:cNvSpPr>
          <p:nvPr>
            <p:ph type="body" sz="quarter" idx="27" hasCustomPrompt="1"/>
          </p:nvPr>
        </p:nvSpPr>
        <p:spPr>
          <a:xfrm>
            <a:off x="1487489" y="2441068"/>
            <a:ext cx="2995124" cy="309225"/>
          </a:xfrm>
          <a:prstGeom prst="rect">
            <a:avLst/>
          </a:prstGeom>
        </p:spPr>
        <p:txBody>
          <a:bodyPr anchor="ctr"/>
          <a:lstStyle>
            <a:lvl1pPr marL="0" indent="0" algn="l">
              <a:buFont typeface="Arial" panose="020B0604020202020204" pitchFamily="34" charset="0"/>
              <a:buNone/>
              <a:defRPr sz="1600" b="0">
                <a:solidFill>
                  <a:schemeClr val="tx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1</a:t>
            </a:r>
            <a:endParaRPr dirty="0"/>
          </a:p>
        </p:txBody>
      </p:sp>
      <p:sp>
        <p:nvSpPr>
          <p:cNvPr id="61" name="Text Placeholder 46">
            <a:extLst>
              <a:ext uri="{FF2B5EF4-FFF2-40B4-BE49-F238E27FC236}">
                <a16:creationId xmlns:a16="http://schemas.microsoft.com/office/drawing/2014/main" id="{93E9CC29-8D0A-A14F-A361-0A62968E0A21}"/>
              </a:ext>
            </a:extLst>
          </p:cNvPr>
          <p:cNvSpPr>
            <a:spLocks noGrp="1"/>
          </p:cNvSpPr>
          <p:nvPr>
            <p:ph type="body" sz="quarter" idx="28" hasCustomPrompt="1"/>
          </p:nvPr>
        </p:nvSpPr>
        <p:spPr>
          <a:xfrm>
            <a:off x="1487490" y="3685293"/>
            <a:ext cx="2920965" cy="364473"/>
          </a:xfrm>
          <a:prstGeom prst="rect">
            <a:avLst/>
          </a:prstGeom>
        </p:spPr>
        <p:txBody>
          <a:bodyPr anchor="ctr"/>
          <a:lstStyle>
            <a:lvl1pPr marL="0" indent="0" algn="l">
              <a:buFont typeface="Arial" panose="020B0604020202020204" pitchFamily="34" charset="0"/>
              <a:buNone/>
              <a:defRPr sz="2667" b="1">
                <a:solidFill>
                  <a:schemeClr val="bg2">
                    <a:lumMod val="90000"/>
                  </a:schemeClr>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65</a:t>
            </a:r>
            <a:endParaRPr dirty="0"/>
          </a:p>
        </p:txBody>
      </p:sp>
      <p:sp>
        <p:nvSpPr>
          <p:cNvPr id="62" name="Text Placeholder 46">
            <a:extLst>
              <a:ext uri="{FF2B5EF4-FFF2-40B4-BE49-F238E27FC236}">
                <a16:creationId xmlns:a16="http://schemas.microsoft.com/office/drawing/2014/main" id="{6BBCFDED-6A24-2E4E-B796-91118C84C42B}"/>
              </a:ext>
            </a:extLst>
          </p:cNvPr>
          <p:cNvSpPr>
            <a:spLocks noGrp="1"/>
          </p:cNvSpPr>
          <p:nvPr>
            <p:ph type="body" sz="quarter" idx="29" hasCustomPrompt="1"/>
          </p:nvPr>
        </p:nvSpPr>
        <p:spPr>
          <a:xfrm>
            <a:off x="1487490" y="4064612"/>
            <a:ext cx="2920965" cy="309225"/>
          </a:xfrm>
          <a:prstGeom prst="rect">
            <a:avLst/>
          </a:prstGeom>
        </p:spPr>
        <p:txBody>
          <a:bodyPr anchor="ctr"/>
          <a:lstStyle>
            <a:lvl1pPr marL="0" indent="0" algn="l">
              <a:buFont typeface="Arial" panose="020B0604020202020204" pitchFamily="34" charset="0"/>
              <a:buNone/>
              <a:defRPr sz="1600" b="0">
                <a:solidFill>
                  <a:schemeClr val="tx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1</a:t>
            </a:r>
            <a:endParaRPr dirty="0"/>
          </a:p>
        </p:txBody>
      </p:sp>
      <p:sp>
        <p:nvSpPr>
          <p:cNvPr id="64" name="Text Placeholder 46">
            <a:extLst>
              <a:ext uri="{FF2B5EF4-FFF2-40B4-BE49-F238E27FC236}">
                <a16:creationId xmlns:a16="http://schemas.microsoft.com/office/drawing/2014/main" id="{2B876EC6-56EF-7A4E-AE43-F4977B7C3310}"/>
              </a:ext>
            </a:extLst>
          </p:cNvPr>
          <p:cNvSpPr>
            <a:spLocks noGrp="1"/>
          </p:cNvSpPr>
          <p:nvPr>
            <p:ph type="body" sz="quarter" idx="31" hasCustomPrompt="1"/>
          </p:nvPr>
        </p:nvSpPr>
        <p:spPr>
          <a:xfrm>
            <a:off x="1487490" y="5308837"/>
            <a:ext cx="2920965" cy="364473"/>
          </a:xfrm>
          <a:prstGeom prst="rect">
            <a:avLst/>
          </a:prstGeom>
        </p:spPr>
        <p:txBody>
          <a:bodyPr anchor="ctr"/>
          <a:lstStyle>
            <a:lvl1pPr marL="0" indent="0" algn="l">
              <a:buFont typeface="Arial" panose="020B0604020202020204" pitchFamily="34" charset="0"/>
              <a:buNone/>
              <a:defRPr sz="2667" b="1">
                <a:solidFill>
                  <a:schemeClr val="bg2">
                    <a:lumMod val="90000"/>
                  </a:schemeClr>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300</a:t>
            </a:r>
            <a:endParaRPr dirty="0"/>
          </a:p>
        </p:txBody>
      </p:sp>
      <p:sp>
        <p:nvSpPr>
          <p:cNvPr id="65" name="Text Placeholder 46">
            <a:extLst>
              <a:ext uri="{FF2B5EF4-FFF2-40B4-BE49-F238E27FC236}">
                <a16:creationId xmlns:a16="http://schemas.microsoft.com/office/drawing/2014/main" id="{885937F7-5BB7-9646-964A-D0EB9353049F}"/>
              </a:ext>
            </a:extLst>
          </p:cNvPr>
          <p:cNvSpPr>
            <a:spLocks noGrp="1"/>
          </p:cNvSpPr>
          <p:nvPr>
            <p:ph type="body" sz="quarter" idx="32" hasCustomPrompt="1"/>
          </p:nvPr>
        </p:nvSpPr>
        <p:spPr>
          <a:xfrm>
            <a:off x="1487490" y="5688156"/>
            <a:ext cx="2920965" cy="309225"/>
          </a:xfrm>
          <a:prstGeom prst="rect">
            <a:avLst/>
          </a:prstGeom>
        </p:spPr>
        <p:txBody>
          <a:bodyPr anchor="ctr"/>
          <a:lstStyle>
            <a:lvl1pPr marL="0" indent="0" algn="l">
              <a:buFont typeface="Arial" panose="020B0604020202020204" pitchFamily="34" charset="0"/>
              <a:buNone/>
              <a:defRPr sz="1600" b="0">
                <a:solidFill>
                  <a:schemeClr val="tx1"/>
                </a:solidFill>
                <a:latin typeface="+mn-lt"/>
                <a:ea typeface="Roboto" panose="02000000000000000000" pitchFamily="2" charset="0"/>
              </a:defRPr>
            </a:lvl1pPr>
            <a:lvl2pPr marL="457189" indent="0" algn="r">
              <a:buFont typeface="Arial" panose="020B0604020202020204" pitchFamily="34" charset="0"/>
              <a:buNone/>
              <a:defRPr/>
            </a:lvl2pPr>
            <a:lvl3pPr marL="914377" indent="0" algn="r">
              <a:buFont typeface="Arial" panose="020B0604020202020204" pitchFamily="34" charset="0"/>
              <a:buNone/>
              <a:defRPr/>
            </a:lvl3pPr>
            <a:lvl4pPr marL="1371566" indent="0" algn="r">
              <a:buFont typeface="Arial" panose="020B0604020202020204" pitchFamily="34" charset="0"/>
              <a:buNone/>
              <a:defRPr/>
            </a:lvl4pPr>
            <a:lvl5pPr marL="1828754" indent="0" algn="r">
              <a:buFont typeface="Arial" panose="020B0604020202020204" pitchFamily="34" charset="0"/>
              <a:buNone/>
              <a:defRPr/>
            </a:lvl5pPr>
          </a:lstStyle>
          <a:p>
            <a:pPr lvl="0"/>
            <a:r>
              <a:rPr lang="nl-BE" dirty="0"/>
              <a:t>Item01</a:t>
            </a:r>
            <a:endParaRPr dirty="0"/>
          </a:p>
        </p:txBody>
      </p:sp>
      <p:grpSp>
        <p:nvGrpSpPr>
          <p:cNvPr id="71" name="Group 70">
            <a:extLst>
              <a:ext uri="{FF2B5EF4-FFF2-40B4-BE49-F238E27FC236}">
                <a16:creationId xmlns:a16="http://schemas.microsoft.com/office/drawing/2014/main" id="{86551E2E-697F-7540-8DD9-EF29C115C7B0}"/>
              </a:ext>
            </a:extLst>
          </p:cNvPr>
          <p:cNvGrpSpPr/>
          <p:nvPr userDrawn="1"/>
        </p:nvGrpSpPr>
        <p:grpSpPr>
          <a:xfrm>
            <a:off x="666333" y="1421311"/>
            <a:ext cx="3816280" cy="329012"/>
            <a:chOff x="531412" y="1065983"/>
            <a:chExt cx="2862210" cy="246759"/>
          </a:xfrm>
        </p:grpSpPr>
        <p:sp>
          <p:nvSpPr>
            <p:cNvPr id="67" name="Rectangle 66">
              <a:extLst>
                <a:ext uri="{FF2B5EF4-FFF2-40B4-BE49-F238E27FC236}">
                  <a16:creationId xmlns:a16="http://schemas.microsoft.com/office/drawing/2014/main" id="{FF98FFE4-0F4E-124A-A005-EEC2DB80D0FB}"/>
                </a:ext>
              </a:extLst>
            </p:cNvPr>
            <p:cNvSpPr/>
            <p:nvPr userDrawn="1"/>
          </p:nvSpPr>
          <p:spPr>
            <a:xfrm>
              <a:off x="607803" y="1067793"/>
              <a:ext cx="2698313" cy="2449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nl-BE" sz="1333" b="1" dirty="0">
                <a:latin typeface="+mn-lt"/>
                <a:ea typeface="Roboto" panose="02000000000000000000" pitchFamily="2" charset="0"/>
              </a:endParaRPr>
            </a:p>
          </p:txBody>
        </p:sp>
        <p:sp>
          <p:nvSpPr>
            <p:cNvPr id="68" name="Oval 67">
              <a:extLst>
                <a:ext uri="{FF2B5EF4-FFF2-40B4-BE49-F238E27FC236}">
                  <a16:creationId xmlns:a16="http://schemas.microsoft.com/office/drawing/2014/main" id="{57720835-A8FA-424B-9316-9EBF99AA2D45}"/>
                </a:ext>
              </a:extLst>
            </p:cNvPr>
            <p:cNvSpPr/>
            <p:nvPr userDrawn="1"/>
          </p:nvSpPr>
          <p:spPr>
            <a:xfrm>
              <a:off x="531412"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sp>
          <p:nvSpPr>
            <p:cNvPr id="69" name="Oval 68">
              <a:extLst>
                <a:ext uri="{FF2B5EF4-FFF2-40B4-BE49-F238E27FC236}">
                  <a16:creationId xmlns:a16="http://schemas.microsoft.com/office/drawing/2014/main" id="{79D3211A-C1EA-554E-A376-02CC61409F8D}"/>
                </a:ext>
              </a:extLst>
            </p:cNvPr>
            <p:cNvSpPr/>
            <p:nvPr userDrawn="1"/>
          </p:nvSpPr>
          <p:spPr>
            <a:xfrm rot="10800000">
              <a:off x="3218609"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grpSp>
      <p:sp>
        <p:nvSpPr>
          <p:cNvPr id="73" name="Text Placeholder 72">
            <a:extLst>
              <a:ext uri="{FF2B5EF4-FFF2-40B4-BE49-F238E27FC236}">
                <a16:creationId xmlns:a16="http://schemas.microsoft.com/office/drawing/2014/main" id="{7239AAAC-B996-8D41-8869-95BE39795542}"/>
              </a:ext>
            </a:extLst>
          </p:cNvPr>
          <p:cNvSpPr>
            <a:spLocks noGrp="1"/>
          </p:cNvSpPr>
          <p:nvPr>
            <p:ph type="body" sz="quarter" idx="34" hasCustomPrompt="1"/>
          </p:nvPr>
        </p:nvSpPr>
        <p:spPr>
          <a:xfrm>
            <a:off x="666333" y="1446701"/>
            <a:ext cx="3816280" cy="318995"/>
          </a:xfrm>
          <a:prstGeom prst="rect">
            <a:avLst/>
          </a:prstGeom>
        </p:spPr>
        <p:txBody>
          <a:bodyPr anchor="ctr"/>
          <a:lstStyle>
            <a:lvl1pPr marL="0" indent="0" algn="ctr">
              <a:buNone/>
              <a:defRPr sz="1333" b="1">
                <a:solidFill>
                  <a:schemeClr val="bg1"/>
                </a:solidFill>
                <a:latin typeface="+mn-lt"/>
                <a:ea typeface="Roboto" panose="02000000000000000000" pitchFamily="2" charset="0"/>
              </a:defRPr>
            </a:lvl1pPr>
            <a:lvl2pPr marL="457189" indent="0" algn="ctr">
              <a:buFont typeface="Arial" panose="020B0604020202020204" pitchFamily="34" charset="0"/>
              <a:buNone/>
              <a:defRPr sz="1333" b="1">
                <a:solidFill>
                  <a:schemeClr val="bg1"/>
                </a:solidFill>
              </a:defRPr>
            </a:lvl2pPr>
          </a:lstStyle>
          <a:p>
            <a:pPr lvl="0"/>
            <a:r>
              <a:rPr lang="nl-BE" dirty="0"/>
              <a:t>CLICK TO ADD TEXT</a:t>
            </a:r>
          </a:p>
        </p:txBody>
      </p:sp>
      <p:grpSp>
        <p:nvGrpSpPr>
          <p:cNvPr id="74" name="Group 73">
            <a:extLst>
              <a:ext uri="{FF2B5EF4-FFF2-40B4-BE49-F238E27FC236}">
                <a16:creationId xmlns:a16="http://schemas.microsoft.com/office/drawing/2014/main" id="{C22DA3FE-3A9A-BA4C-B39A-A79DFFE59CFE}"/>
              </a:ext>
            </a:extLst>
          </p:cNvPr>
          <p:cNvGrpSpPr/>
          <p:nvPr userDrawn="1"/>
        </p:nvGrpSpPr>
        <p:grpSpPr>
          <a:xfrm>
            <a:off x="666333" y="3053155"/>
            <a:ext cx="3816280" cy="329012"/>
            <a:chOff x="531412" y="1065983"/>
            <a:chExt cx="2862210" cy="246759"/>
          </a:xfrm>
        </p:grpSpPr>
        <p:sp>
          <p:nvSpPr>
            <p:cNvPr id="75" name="Rectangle 74">
              <a:extLst>
                <a:ext uri="{FF2B5EF4-FFF2-40B4-BE49-F238E27FC236}">
                  <a16:creationId xmlns:a16="http://schemas.microsoft.com/office/drawing/2014/main" id="{1BF20D51-F361-0343-B4FA-C791B1244B1B}"/>
                </a:ext>
              </a:extLst>
            </p:cNvPr>
            <p:cNvSpPr/>
            <p:nvPr userDrawn="1"/>
          </p:nvSpPr>
          <p:spPr>
            <a:xfrm>
              <a:off x="607803" y="1067793"/>
              <a:ext cx="2698313" cy="2449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nl-BE" sz="1333" b="1" dirty="0">
                <a:latin typeface="+mn-lt"/>
                <a:ea typeface="Roboto" panose="02000000000000000000" pitchFamily="2" charset="0"/>
              </a:endParaRPr>
            </a:p>
          </p:txBody>
        </p:sp>
        <p:sp>
          <p:nvSpPr>
            <p:cNvPr id="76" name="Oval 75">
              <a:extLst>
                <a:ext uri="{FF2B5EF4-FFF2-40B4-BE49-F238E27FC236}">
                  <a16:creationId xmlns:a16="http://schemas.microsoft.com/office/drawing/2014/main" id="{598585CC-5441-7444-96BF-6F2F05401FD3}"/>
                </a:ext>
              </a:extLst>
            </p:cNvPr>
            <p:cNvSpPr/>
            <p:nvPr userDrawn="1"/>
          </p:nvSpPr>
          <p:spPr>
            <a:xfrm>
              <a:off x="531412"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sp>
          <p:nvSpPr>
            <p:cNvPr id="77" name="Oval 76">
              <a:extLst>
                <a:ext uri="{FF2B5EF4-FFF2-40B4-BE49-F238E27FC236}">
                  <a16:creationId xmlns:a16="http://schemas.microsoft.com/office/drawing/2014/main" id="{216A886A-6B29-EA47-982C-1B3184F476C6}"/>
                </a:ext>
              </a:extLst>
            </p:cNvPr>
            <p:cNvSpPr/>
            <p:nvPr userDrawn="1"/>
          </p:nvSpPr>
          <p:spPr>
            <a:xfrm rot="10800000">
              <a:off x="3218609"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grpSp>
      <p:sp>
        <p:nvSpPr>
          <p:cNvPr id="78" name="Text Placeholder 72">
            <a:extLst>
              <a:ext uri="{FF2B5EF4-FFF2-40B4-BE49-F238E27FC236}">
                <a16:creationId xmlns:a16="http://schemas.microsoft.com/office/drawing/2014/main" id="{66F2BDFF-E42B-214C-B4FD-77A4C4E78236}"/>
              </a:ext>
            </a:extLst>
          </p:cNvPr>
          <p:cNvSpPr>
            <a:spLocks noGrp="1"/>
          </p:cNvSpPr>
          <p:nvPr>
            <p:ph type="body" sz="quarter" idx="35" hasCustomPrompt="1"/>
          </p:nvPr>
        </p:nvSpPr>
        <p:spPr>
          <a:xfrm>
            <a:off x="666333" y="3066264"/>
            <a:ext cx="3816280" cy="318995"/>
          </a:xfrm>
          <a:prstGeom prst="rect">
            <a:avLst/>
          </a:prstGeom>
        </p:spPr>
        <p:txBody>
          <a:bodyPr anchor="ctr"/>
          <a:lstStyle>
            <a:lvl1pPr marL="0" indent="0" algn="ctr">
              <a:buNone/>
              <a:defRPr sz="1333" b="1">
                <a:solidFill>
                  <a:schemeClr val="bg1"/>
                </a:solidFill>
                <a:latin typeface="+mn-lt"/>
                <a:ea typeface="Roboto" panose="02000000000000000000" pitchFamily="2" charset="0"/>
              </a:defRPr>
            </a:lvl1pPr>
            <a:lvl2pPr marL="457189" indent="0" algn="ctr">
              <a:buFont typeface="Arial" panose="020B0604020202020204" pitchFamily="34" charset="0"/>
              <a:buNone/>
              <a:defRPr sz="1333" b="1">
                <a:solidFill>
                  <a:schemeClr val="bg1"/>
                </a:solidFill>
              </a:defRPr>
            </a:lvl2pPr>
          </a:lstStyle>
          <a:p>
            <a:pPr lvl="0"/>
            <a:r>
              <a:rPr lang="nl-BE" dirty="0"/>
              <a:t>CLICK TO ADD TEXT</a:t>
            </a:r>
          </a:p>
        </p:txBody>
      </p:sp>
      <p:grpSp>
        <p:nvGrpSpPr>
          <p:cNvPr id="79" name="Group 78">
            <a:extLst>
              <a:ext uri="{FF2B5EF4-FFF2-40B4-BE49-F238E27FC236}">
                <a16:creationId xmlns:a16="http://schemas.microsoft.com/office/drawing/2014/main" id="{F66C12A2-A0DF-9240-873B-0A84D40CDDCE}"/>
              </a:ext>
            </a:extLst>
          </p:cNvPr>
          <p:cNvGrpSpPr/>
          <p:nvPr userDrawn="1"/>
        </p:nvGrpSpPr>
        <p:grpSpPr>
          <a:xfrm>
            <a:off x="666333" y="4696486"/>
            <a:ext cx="3816280" cy="330633"/>
            <a:chOff x="531412" y="1065983"/>
            <a:chExt cx="2862210" cy="246759"/>
          </a:xfrm>
        </p:grpSpPr>
        <p:sp>
          <p:nvSpPr>
            <p:cNvPr id="80" name="Rectangle 79">
              <a:extLst>
                <a:ext uri="{FF2B5EF4-FFF2-40B4-BE49-F238E27FC236}">
                  <a16:creationId xmlns:a16="http://schemas.microsoft.com/office/drawing/2014/main" id="{5B447729-6025-234E-BD8F-25B1E5760A63}"/>
                </a:ext>
              </a:extLst>
            </p:cNvPr>
            <p:cNvSpPr/>
            <p:nvPr userDrawn="1"/>
          </p:nvSpPr>
          <p:spPr>
            <a:xfrm>
              <a:off x="607803" y="1067793"/>
              <a:ext cx="2698313" cy="2449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lang="nl-BE" sz="1333" b="1" dirty="0">
                <a:latin typeface="+mn-lt"/>
                <a:ea typeface="Roboto" panose="02000000000000000000" pitchFamily="2" charset="0"/>
              </a:endParaRPr>
            </a:p>
          </p:txBody>
        </p:sp>
        <p:sp>
          <p:nvSpPr>
            <p:cNvPr id="81" name="Oval 80">
              <a:extLst>
                <a:ext uri="{FF2B5EF4-FFF2-40B4-BE49-F238E27FC236}">
                  <a16:creationId xmlns:a16="http://schemas.microsoft.com/office/drawing/2014/main" id="{134D04EA-654F-D440-892C-6ECF5B8BF8DE}"/>
                </a:ext>
              </a:extLst>
            </p:cNvPr>
            <p:cNvSpPr/>
            <p:nvPr userDrawn="1"/>
          </p:nvSpPr>
          <p:spPr>
            <a:xfrm>
              <a:off x="531412"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sp>
          <p:nvSpPr>
            <p:cNvPr id="82" name="Oval 81">
              <a:extLst>
                <a:ext uri="{FF2B5EF4-FFF2-40B4-BE49-F238E27FC236}">
                  <a16:creationId xmlns:a16="http://schemas.microsoft.com/office/drawing/2014/main" id="{5D9A4407-7281-2A41-84E5-1BE73FDA0B94}"/>
                </a:ext>
              </a:extLst>
            </p:cNvPr>
            <p:cNvSpPr/>
            <p:nvPr userDrawn="1"/>
          </p:nvSpPr>
          <p:spPr>
            <a:xfrm rot="10800000">
              <a:off x="3218609" y="1065983"/>
              <a:ext cx="175013" cy="24675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b="1" dirty="0">
                <a:latin typeface="+mn-lt"/>
                <a:ea typeface="Roboto" panose="02000000000000000000" pitchFamily="2" charset="0"/>
              </a:endParaRPr>
            </a:p>
          </p:txBody>
        </p:sp>
      </p:grpSp>
      <p:sp>
        <p:nvSpPr>
          <p:cNvPr id="83" name="Text Placeholder 72">
            <a:extLst>
              <a:ext uri="{FF2B5EF4-FFF2-40B4-BE49-F238E27FC236}">
                <a16:creationId xmlns:a16="http://schemas.microsoft.com/office/drawing/2014/main" id="{B1B23993-A914-9745-8872-210073C1F8ED}"/>
              </a:ext>
            </a:extLst>
          </p:cNvPr>
          <p:cNvSpPr>
            <a:spLocks noGrp="1"/>
          </p:cNvSpPr>
          <p:nvPr>
            <p:ph type="body" sz="quarter" idx="36" hasCustomPrompt="1"/>
          </p:nvPr>
        </p:nvSpPr>
        <p:spPr>
          <a:xfrm>
            <a:off x="666333" y="4711216"/>
            <a:ext cx="3816280" cy="318995"/>
          </a:xfrm>
          <a:prstGeom prst="rect">
            <a:avLst/>
          </a:prstGeom>
        </p:spPr>
        <p:txBody>
          <a:bodyPr anchor="ctr"/>
          <a:lstStyle>
            <a:lvl1pPr marL="0" indent="0" algn="ctr">
              <a:buNone/>
              <a:defRPr sz="1333" b="1">
                <a:solidFill>
                  <a:schemeClr val="bg1"/>
                </a:solidFill>
                <a:latin typeface="+mn-lt"/>
                <a:ea typeface="Roboto" panose="02000000000000000000" pitchFamily="2" charset="0"/>
              </a:defRPr>
            </a:lvl1pPr>
            <a:lvl2pPr marL="457189" indent="0" algn="ctr">
              <a:buFont typeface="Arial" panose="020B0604020202020204" pitchFamily="34" charset="0"/>
              <a:buNone/>
              <a:defRPr sz="1333" b="1">
                <a:solidFill>
                  <a:schemeClr val="bg1"/>
                </a:solidFill>
              </a:defRPr>
            </a:lvl2pPr>
          </a:lstStyle>
          <a:p>
            <a:pPr lvl="0"/>
            <a:r>
              <a:rPr lang="nl-BE" dirty="0"/>
              <a:t>CLICK TO ADD TEXT</a:t>
            </a:r>
          </a:p>
        </p:txBody>
      </p:sp>
      <p:sp>
        <p:nvSpPr>
          <p:cNvPr id="35" name="Title 10">
            <a:extLst>
              <a:ext uri="{FF2B5EF4-FFF2-40B4-BE49-F238E27FC236}">
                <a16:creationId xmlns:a16="http://schemas.microsoft.com/office/drawing/2014/main" id="{C85CBB4F-5596-4708-B5B8-AF92ABCEEA75}"/>
              </a:ext>
            </a:extLst>
          </p:cNvPr>
          <p:cNvSpPr>
            <a:spLocks noGrp="1"/>
          </p:cNvSpPr>
          <p:nvPr>
            <p:ph type="title" hasCustomPrompt="1"/>
          </p:nvPr>
        </p:nvSpPr>
        <p:spPr>
          <a:xfrm>
            <a:off x="524112" y="534243"/>
            <a:ext cx="7248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Xerius </a:t>
            </a:r>
            <a:r>
              <a:rPr lang="en-GB" noProof="0" dirty="0" err="1"/>
              <a:t>Cijfers</a:t>
            </a:r>
            <a:endParaRPr lang="en-GB" noProof="0" dirty="0"/>
          </a:p>
        </p:txBody>
      </p:sp>
    </p:spTree>
    <p:extLst>
      <p:ext uri="{BB962C8B-B14F-4D97-AF65-F5344CB8AC3E}">
        <p14:creationId xmlns:p14="http://schemas.microsoft.com/office/powerpoint/2010/main" val="34179424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ussenslide1">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5EAF87CD-2DD4-45A7-B3FE-2A95B46F23D9}"/>
              </a:ext>
            </a:extLst>
          </p:cNvPr>
          <p:cNvSpPr/>
          <p:nvPr userDrawn="1"/>
        </p:nvSpPr>
        <p:spPr bwMode="auto">
          <a:xfrm>
            <a:off x="-1" y="0"/>
            <a:ext cx="9761813" cy="6858000"/>
          </a:xfrm>
          <a:custGeom>
            <a:avLst/>
            <a:gdLst>
              <a:gd name="connsiteX0" fmla="*/ 0 w 7321360"/>
              <a:gd name="connsiteY0" fmla="*/ 0 h 5143500"/>
              <a:gd name="connsiteX1" fmla="*/ 3589003 w 7321360"/>
              <a:gd name="connsiteY1" fmla="*/ 0 h 5143500"/>
              <a:gd name="connsiteX2" fmla="*/ 3909060 w 7321360"/>
              <a:gd name="connsiteY2" fmla="*/ 0 h 5143500"/>
              <a:gd name="connsiteX3" fmla="*/ 4062343 w 7321360"/>
              <a:gd name="connsiteY3" fmla="*/ 0 h 5143500"/>
              <a:gd name="connsiteX4" fmla="*/ 4066969 w 7321360"/>
              <a:gd name="connsiteY4" fmla="*/ 5204 h 5143500"/>
              <a:gd name="connsiteX5" fmla="*/ 4214717 w 7321360"/>
              <a:gd name="connsiteY5" fmla="*/ 314893 h 5143500"/>
              <a:gd name="connsiteX6" fmla="*/ 4305551 w 7321360"/>
              <a:gd name="connsiteY6" fmla="*/ 726675 h 5143500"/>
              <a:gd name="connsiteX7" fmla="*/ 4305551 w 7321360"/>
              <a:gd name="connsiteY7" fmla="*/ 1077902 h 5143500"/>
              <a:gd name="connsiteX8" fmla="*/ 4226828 w 7321360"/>
              <a:gd name="connsiteY8" fmla="*/ 1435184 h 5143500"/>
              <a:gd name="connsiteX9" fmla="*/ 4202606 w 7321360"/>
              <a:gd name="connsiteY9" fmla="*/ 1695576 h 5143500"/>
              <a:gd name="connsiteX10" fmla="*/ 4214717 w 7321360"/>
              <a:gd name="connsiteY10" fmla="*/ 2295083 h 5143500"/>
              <a:gd name="connsiteX11" fmla="*/ 4305551 w 7321360"/>
              <a:gd name="connsiteY11" fmla="*/ 2640254 h 5143500"/>
              <a:gd name="connsiteX12" fmla="*/ 4408497 w 7321360"/>
              <a:gd name="connsiteY12" fmla="*/ 2870368 h 5143500"/>
              <a:gd name="connsiteX13" fmla="*/ 4547776 w 7321360"/>
              <a:gd name="connsiteY13" fmla="*/ 3009648 h 5143500"/>
              <a:gd name="connsiteX14" fmla="*/ 4711278 w 7321360"/>
              <a:gd name="connsiteY14" fmla="*/ 3106538 h 5143500"/>
              <a:gd name="connsiteX15" fmla="*/ 4947448 w 7321360"/>
              <a:gd name="connsiteY15" fmla="*/ 3154983 h 5143500"/>
              <a:gd name="connsiteX16" fmla="*/ 5274452 w 7321360"/>
              <a:gd name="connsiteY16" fmla="*/ 3112593 h 5143500"/>
              <a:gd name="connsiteX17" fmla="*/ 5546955 w 7321360"/>
              <a:gd name="connsiteY17" fmla="*/ 2985425 h 5143500"/>
              <a:gd name="connsiteX18" fmla="*/ 5916349 w 7321360"/>
              <a:gd name="connsiteY18" fmla="*/ 2797701 h 5143500"/>
              <a:gd name="connsiteX19" fmla="*/ 6237297 w 7321360"/>
              <a:gd name="connsiteY19" fmla="*/ 2718977 h 5143500"/>
              <a:gd name="connsiteX20" fmla="*/ 6515856 w 7321360"/>
              <a:gd name="connsiteY20" fmla="*/ 2749256 h 5143500"/>
              <a:gd name="connsiteX21" fmla="*/ 6794415 w 7321360"/>
              <a:gd name="connsiteY21" fmla="*/ 2846146 h 5143500"/>
              <a:gd name="connsiteX22" fmla="*/ 7048751 w 7321360"/>
              <a:gd name="connsiteY22" fmla="*/ 3070204 h 5143500"/>
              <a:gd name="connsiteX23" fmla="*/ 7188031 w 7321360"/>
              <a:gd name="connsiteY23" fmla="*/ 3330596 h 5143500"/>
              <a:gd name="connsiteX24" fmla="*/ 7290976 w 7321360"/>
              <a:gd name="connsiteY24" fmla="*/ 3681823 h 5143500"/>
              <a:gd name="connsiteX25" fmla="*/ 7321255 w 7321360"/>
              <a:gd name="connsiteY25" fmla="*/ 4075438 h 5143500"/>
              <a:gd name="connsiteX26" fmla="*/ 7297032 w 7321360"/>
              <a:gd name="connsiteY26" fmla="*/ 4384275 h 5143500"/>
              <a:gd name="connsiteX27" fmla="*/ 7206198 w 7321360"/>
              <a:gd name="connsiteY27" fmla="*/ 4753669 h 5143500"/>
              <a:gd name="connsiteX28" fmla="*/ 7080023 w 7321360"/>
              <a:gd name="connsiteY28" fmla="*/ 5128674 h 5143500"/>
              <a:gd name="connsiteX29" fmla="*/ 7072146 w 7321360"/>
              <a:gd name="connsiteY29" fmla="*/ 5143500 h 5143500"/>
              <a:gd name="connsiteX30" fmla="*/ 3909060 w 7321360"/>
              <a:gd name="connsiteY30" fmla="*/ 5143500 h 5143500"/>
              <a:gd name="connsiteX31" fmla="*/ 2894676 w 7321360"/>
              <a:gd name="connsiteY31" fmla="*/ 5143500 h 5143500"/>
              <a:gd name="connsiteX32" fmla="*/ 0 w 7321360"/>
              <a:gd name="connsiteY32" fmla="*/ 5143500 h 5143500"/>
              <a:gd name="connsiteX0" fmla="*/ 0 w 7321360"/>
              <a:gd name="connsiteY0" fmla="*/ 0 h 5143500"/>
              <a:gd name="connsiteX1" fmla="*/ 3909060 w 7321360"/>
              <a:gd name="connsiteY1" fmla="*/ 0 h 5143500"/>
              <a:gd name="connsiteX2" fmla="*/ 4062343 w 7321360"/>
              <a:gd name="connsiteY2" fmla="*/ 0 h 5143500"/>
              <a:gd name="connsiteX3" fmla="*/ 4066969 w 7321360"/>
              <a:gd name="connsiteY3" fmla="*/ 5204 h 5143500"/>
              <a:gd name="connsiteX4" fmla="*/ 4214717 w 7321360"/>
              <a:gd name="connsiteY4" fmla="*/ 314893 h 5143500"/>
              <a:gd name="connsiteX5" fmla="*/ 4305551 w 7321360"/>
              <a:gd name="connsiteY5" fmla="*/ 726675 h 5143500"/>
              <a:gd name="connsiteX6" fmla="*/ 4305551 w 7321360"/>
              <a:gd name="connsiteY6" fmla="*/ 1077902 h 5143500"/>
              <a:gd name="connsiteX7" fmla="*/ 4226828 w 7321360"/>
              <a:gd name="connsiteY7" fmla="*/ 1435184 h 5143500"/>
              <a:gd name="connsiteX8" fmla="*/ 4202606 w 7321360"/>
              <a:gd name="connsiteY8" fmla="*/ 1695576 h 5143500"/>
              <a:gd name="connsiteX9" fmla="*/ 4214717 w 7321360"/>
              <a:gd name="connsiteY9" fmla="*/ 2295083 h 5143500"/>
              <a:gd name="connsiteX10" fmla="*/ 4305551 w 7321360"/>
              <a:gd name="connsiteY10" fmla="*/ 2640254 h 5143500"/>
              <a:gd name="connsiteX11" fmla="*/ 4408497 w 7321360"/>
              <a:gd name="connsiteY11" fmla="*/ 2870368 h 5143500"/>
              <a:gd name="connsiteX12" fmla="*/ 4547776 w 7321360"/>
              <a:gd name="connsiteY12" fmla="*/ 3009648 h 5143500"/>
              <a:gd name="connsiteX13" fmla="*/ 4711278 w 7321360"/>
              <a:gd name="connsiteY13" fmla="*/ 3106538 h 5143500"/>
              <a:gd name="connsiteX14" fmla="*/ 4947448 w 7321360"/>
              <a:gd name="connsiteY14" fmla="*/ 3154983 h 5143500"/>
              <a:gd name="connsiteX15" fmla="*/ 5274452 w 7321360"/>
              <a:gd name="connsiteY15" fmla="*/ 3112593 h 5143500"/>
              <a:gd name="connsiteX16" fmla="*/ 5546955 w 7321360"/>
              <a:gd name="connsiteY16" fmla="*/ 2985425 h 5143500"/>
              <a:gd name="connsiteX17" fmla="*/ 5916349 w 7321360"/>
              <a:gd name="connsiteY17" fmla="*/ 2797701 h 5143500"/>
              <a:gd name="connsiteX18" fmla="*/ 6237297 w 7321360"/>
              <a:gd name="connsiteY18" fmla="*/ 2718977 h 5143500"/>
              <a:gd name="connsiteX19" fmla="*/ 6515856 w 7321360"/>
              <a:gd name="connsiteY19" fmla="*/ 2749256 h 5143500"/>
              <a:gd name="connsiteX20" fmla="*/ 6794415 w 7321360"/>
              <a:gd name="connsiteY20" fmla="*/ 2846146 h 5143500"/>
              <a:gd name="connsiteX21" fmla="*/ 7048751 w 7321360"/>
              <a:gd name="connsiteY21" fmla="*/ 3070204 h 5143500"/>
              <a:gd name="connsiteX22" fmla="*/ 7188031 w 7321360"/>
              <a:gd name="connsiteY22" fmla="*/ 3330596 h 5143500"/>
              <a:gd name="connsiteX23" fmla="*/ 7290976 w 7321360"/>
              <a:gd name="connsiteY23" fmla="*/ 3681823 h 5143500"/>
              <a:gd name="connsiteX24" fmla="*/ 7321255 w 7321360"/>
              <a:gd name="connsiteY24" fmla="*/ 4075438 h 5143500"/>
              <a:gd name="connsiteX25" fmla="*/ 7297032 w 7321360"/>
              <a:gd name="connsiteY25" fmla="*/ 4384275 h 5143500"/>
              <a:gd name="connsiteX26" fmla="*/ 7206198 w 7321360"/>
              <a:gd name="connsiteY26" fmla="*/ 4753669 h 5143500"/>
              <a:gd name="connsiteX27" fmla="*/ 7080023 w 7321360"/>
              <a:gd name="connsiteY27" fmla="*/ 5128674 h 5143500"/>
              <a:gd name="connsiteX28" fmla="*/ 7072146 w 7321360"/>
              <a:gd name="connsiteY28" fmla="*/ 5143500 h 5143500"/>
              <a:gd name="connsiteX29" fmla="*/ 3909060 w 7321360"/>
              <a:gd name="connsiteY29" fmla="*/ 5143500 h 5143500"/>
              <a:gd name="connsiteX30" fmla="*/ 2894676 w 7321360"/>
              <a:gd name="connsiteY30" fmla="*/ 5143500 h 5143500"/>
              <a:gd name="connsiteX31" fmla="*/ 0 w 7321360"/>
              <a:gd name="connsiteY31" fmla="*/ 5143500 h 5143500"/>
              <a:gd name="connsiteX32" fmla="*/ 0 w 7321360"/>
              <a:gd name="connsiteY32" fmla="*/ 0 h 5143500"/>
              <a:gd name="connsiteX0" fmla="*/ 0 w 7321360"/>
              <a:gd name="connsiteY0" fmla="*/ 0 h 5143500"/>
              <a:gd name="connsiteX1" fmla="*/ 4062343 w 7321360"/>
              <a:gd name="connsiteY1" fmla="*/ 0 h 5143500"/>
              <a:gd name="connsiteX2" fmla="*/ 4066969 w 7321360"/>
              <a:gd name="connsiteY2" fmla="*/ 5204 h 5143500"/>
              <a:gd name="connsiteX3" fmla="*/ 4214717 w 7321360"/>
              <a:gd name="connsiteY3" fmla="*/ 314893 h 5143500"/>
              <a:gd name="connsiteX4" fmla="*/ 4305551 w 7321360"/>
              <a:gd name="connsiteY4" fmla="*/ 726675 h 5143500"/>
              <a:gd name="connsiteX5" fmla="*/ 4305551 w 7321360"/>
              <a:gd name="connsiteY5" fmla="*/ 1077902 h 5143500"/>
              <a:gd name="connsiteX6" fmla="*/ 4226828 w 7321360"/>
              <a:gd name="connsiteY6" fmla="*/ 1435184 h 5143500"/>
              <a:gd name="connsiteX7" fmla="*/ 4202606 w 7321360"/>
              <a:gd name="connsiteY7" fmla="*/ 1695576 h 5143500"/>
              <a:gd name="connsiteX8" fmla="*/ 4214717 w 7321360"/>
              <a:gd name="connsiteY8" fmla="*/ 2295083 h 5143500"/>
              <a:gd name="connsiteX9" fmla="*/ 4305551 w 7321360"/>
              <a:gd name="connsiteY9" fmla="*/ 2640254 h 5143500"/>
              <a:gd name="connsiteX10" fmla="*/ 4408497 w 7321360"/>
              <a:gd name="connsiteY10" fmla="*/ 2870368 h 5143500"/>
              <a:gd name="connsiteX11" fmla="*/ 4547776 w 7321360"/>
              <a:gd name="connsiteY11" fmla="*/ 3009648 h 5143500"/>
              <a:gd name="connsiteX12" fmla="*/ 4711278 w 7321360"/>
              <a:gd name="connsiteY12" fmla="*/ 3106538 h 5143500"/>
              <a:gd name="connsiteX13" fmla="*/ 4947448 w 7321360"/>
              <a:gd name="connsiteY13" fmla="*/ 3154983 h 5143500"/>
              <a:gd name="connsiteX14" fmla="*/ 5274452 w 7321360"/>
              <a:gd name="connsiteY14" fmla="*/ 3112593 h 5143500"/>
              <a:gd name="connsiteX15" fmla="*/ 5546955 w 7321360"/>
              <a:gd name="connsiteY15" fmla="*/ 2985425 h 5143500"/>
              <a:gd name="connsiteX16" fmla="*/ 5916349 w 7321360"/>
              <a:gd name="connsiteY16" fmla="*/ 2797701 h 5143500"/>
              <a:gd name="connsiteX17" fmla="*/ 6237297 w 7321360"/>
              <a:gd name="connsiteY17" fmla="*/ 2718977 h 5143500"/>
              <a:gd name="connsiteX18" fmla="*/ 6515856 w 7321360"/>
              <a:gd name="connsiteY18" fmla="*/ 2749256 h 5143500"/>
              <a:gd name="connsiteX19" fmla="*/ 6794415 w 7321360"/>
              <a:gd name="connsiteY19" fmla="*/ 2846146 h 5143500"/>
              <a:gd name="connsiteX20" fmla="*/ 7048751 w 7321360"/>
              <a:gd name="connsiteY20" fmla="*/ 3070204 h 5143500"/>
              <a:gd name="connsiteX21" fmla="*/ 7188031 w 7321360"/>
              <a:gd name="connsiteY21" fmla="*/ 3330596 h 5143500"/>
              <a:gd name="connsiteX22" fmla="*/ 7290976 w 7321360"/>
              <a:gd name="connsiteY22" fmla="*/ 3681823 h 5143500"/>
              <a:gd name="connsiteX23" fmla="*/ 7321255 w 7321360"/>
              <a:gd name="connsiteY23" fmla="*/ 4075438 h 5143500"/>
              <a:gd name="connsiteX24" fmla="*/ 7297032 w 7321360"/>
              <a:gd name="connsiteY24" fmla="*/ 4384275 h 5143500"/>
              <a:gd name="connsiteX25" fmla="*/ 7206198 w 7321360"/>
              <a:gd name="connsiteY25" fmla="*/ 4753669 h 5143500"/>
              <a:gd name="connsiteX26" fmla="*/ 7080023 w 7321360"/>
              <a:gd name="connsiteY26" fmla="*/ 5128674 h 5143500"/>
              <a:gd name="connsiteX27" fmla="*/ 7072146 w 7321360"/>
              <a:gd name="connsiteY27" fmla="*/ 5143500 h 5143500"/>
              <a:gd name="connsiteX28" fmla="*/ 3909060 w 7321360"/>
              <a:gd name="connsiteY28" fmla="*/ 5143500 h 5143500"/>
              <a:gd name="connsiteX29" fmla="*/ 2894676 w 7321360"/>
              <a:gd name="connsiteY29" fmla="*/ 5143500 h 5143500"/>
              <a:gd name="connsiteX30" fmla="*/ 0 w 7321360"/>
              <a:gd name="connsiteY30" fmla="*/ 5143500 h 5143500"/>
              <a:gd name="connsiteX31" fmla="*/ 0 w 7321360"/>
              <a:gd name="connsiteY31" fmla="*/ 0 h 5143500"/>
              <a:gd name="connsiteX0" fmla="*/ 0 w 7321360"/>
              <a:gd name="connsiteY0" fmla="*/ 0 h 5143500"/>
              <a:gd name="connsiteX1" fmla="*/ 4062343 w 7321360"/>
              <a:gd name="connsiteY1" fmla="*/ 0 h 5143500"/>
              <a:gd name="connsiteX2" fmla="*/ 4066969 w 7321360"/>
              <a:gd name="connsiteY2" fmla="*/ 5204 h 5143500"/>
              <a:gd name="connsiteX3" fmla="*/ 4214717 w 7321360"/>
              <a:gd name="connsiteY3" fmla="*/ 314893 h 5143500"/>
              <a:gd name="connsiteX4" fmla="*/ 4305551 w 7321360"/>
              <a:gd name="connsiteY4" fmla="*/ 726675 h 5143500"/>
              <a:gd name="connsiteX5" fmla="*/ 4305551 w 7321360"/>
              <a:gd name="connsiteY5" fmla="*/ 1077902 h 5143500"/>
              <a:gd name="connsiteX6" fmla="*/ 4226828 w 7321360"/>
              <a:gd name="connsiteY6" fmla="*/ 1435184 h 5143500"/>
              <a:gd name="connsiteX7" fmla="*/ 4202606 w 7321360"/>
              <a:gd name="connsiteY7" fmla="*/ 1695576 h 5143500"/>
              <a:gd name="connsiteX8" fmla="*/ 4214717 w 7321360"/>
              <a:gd name="connsiteY8" fmla="*/ 2295083 h 5143500"/>
              <a:gd name="connsiteX9" fmla="*/ 4305551 w 7321360"/>
              <a:gd name="connsiteY9" fmla="*/ 2640254 h 5143500"/>
              <a:gd name="connsiteX10" fmla="*/ 4408497 w 7321360"/>
              <a:gd name="connsiteY10" fmla="*/ 2870368 h 5143500"/>
              <a:gd name="connsiteX11" fmla="*/ 4547776 w 7321360"/>
              <a:gd name="connsiteY11" fmla="*/ 3009648 h 5143500"/>
              <a:gd name="connsiteX12" fmla="*/ 4711278 w 7321360"/>
              <a:gd name="connsiteY12" fmla="*/ 3106538 h 5143500"/>
              <a:gd name="connsiteX13" fmla="*/ 4947448 w 7321360"/>
              <a:gd name="connsiteY13" fmla="*/ 3154983 h 5143500"/>
              <a:gd name="connsiteX14" fmla="*/ 5274452 w 7321360"/>
              <a:gd name="connsiteY14" fmla="*/ 3112593 h 5143500"/>
              <a:gd name="connsiteX15" fmla="*/ 5546955 w 7321360"/>
              <a:gd name="connsiteY15" fmla="*/ 2985425 h 5143500"/>
              <a:gd name="connsiteX16" fmla="*/ 5916349 w 7321360"/>
              <a:gd name="connsiteY16" fmla="*/ 2797701 h 5143500"/>
              <a:gd name="connsiteX17" fmla="*/ 6237297 w 7321360"/>
              <a:gd name="connsiteY17" fmla="*/ 2718977 h 5143500"/>
              <a:gd name="connsiteX18" fmla="*/ 6515856 w 7321360"/>
              <a:gd name="connsiteY18" fmla="*/ 2749256 h 5143500"/>
              <a:gd name="connsiteX19" fmla="*/ 6794415 w 7321360"/>
              <a:gd name="connsiteY19" fmla="*/ 2846146 h 5143500"/>
              <a:gd name="connsiteX20" fmla="*/ 7048751 w 7321360"/>
              <a:gd name="connsiteY20" fmla="*/ 3070204 h 5143500"/>
              <a:gd name="connsiteX21" fmla="*/ 7188031 w 7321360"/>
              <a:gd name="connsiteY21" fmla="*/ 3330596 h 5143500"/>
              <a:gd name="connsiteX22" fmla="*/ 7290976 w 7321360"/>
              <a:gd name="connsiteY22" fmla="*/ 3681823 h 5143500"/>
              <a:gd name="connsiteX23" fmla="*/ 7321255 w 7321360"/>
              <a:gd name="connsiteY23" fmla="*/ 4075438 h 5143500"/>
              <a:gd name="connsiteX24" fmla="*/ 7297032 w 7321360"/>
              <a:gd name="connsiteY24" fmla="*/ 4384275 h 5143500"/>
              <a:gd name="connsiteX25" fmla="*/ 7206198 w 7321360"/>
              <a:gd name="connsiteY25" fmla="*/ 4753669 h 5143500"/>
              <a:gd name="connsiteX26" fmla="*/ 7080023 w 7321360"/>
              <a:gd name="connsiteY26" fmla="*/ 5128674 h 5143500"/>
              <a:gd name="connsiteX27" fmla="*/ 7072146 w 7321360"/>
              <a:gd name="connsiteY27" fmla="*/ 5143500 h 5143500"/>
              <a:gd name="connsiteX28" fmla="*/ 3909060 w 7321360"/>
              <a:gd name="connsiteY28" fmla="*/ 5143500 h 5143500"/>
              <a:gd name="connsiteX29" fmla="*/ 0 w 7321360"/>
              <a:gd name="connsiteY29" fmla="*/ 5143500 h 5143500"/>
              <a:gd name="connsiteX30" fmla="*/ 0 w 7321360"/>
              <a:gd name="connsiteY30" fmla="*/ 0 h 5143500"/>
              <a:gd name="connsiteX0" fmla="*/ 0 w 7321360"/>
              <a:gd name="connsiteY0" fmla="*/ 0 h 5143500"/>
              <a:gd name="connsiteX1" fmla="*/ 4062343 w 7321360"/>
              <a:gd name="connsiteY1" fmla="*/ 0 h 5143500"/>
              <a:gd name="connsiteX2" fmla="*/ 4066969 w 7321360"/>
              <a:gd name="connsiteY2" fmla="*/ 5204 h 5143500"/>
              <a:gd name="connsiteX3" fmla="*/ 4214717 w 7321360"/>
              <a:gd name="connsiteY3" fmla="*/ 314893 h 5143500"/>
              <a:gd name="connsiteX4" fmla="*/ 4305551 w 7321360"/>
              <a:gd name="connsiteY4" fmla="*/ 726675 h 5143500"/>
              <a:gd name="connsiteX5" fmla="*/ 4305551 w 7321360"/>
              <a:gd name="connsiteY5" fmla="*/ 1077902 h 5143500"/>
              <a:gd name="connsiteX6" fmla="*/ 4226828 w 7321360"/>
              <a:gd name="connsiteY6" fmla="*/ 1435184 h 5143500"/>
              <a:gd name="connsiteX7" fmla="*/ 4202606 w 7321360"/>
              <a:gd name="connsiteY7" fmla="*/ 1695576 h 5143500"/>
              <a:gd name="connsiteX8" fmla="*/ 4214717 w 7321360"/>
              <a:gd name="connsiteY8" fmla="*/ 2295083 h 5143500"/>
              <a:gd name="connsiteX9" fmla="*/ 4305551 w 7321360"/>
              <a:gd name="connsiteY9" fmla="*/ 2640254 h 5143500"/>
              <a:gd name="connsiteX10" fmla="*/ 4408497 w 7321360"/>
              <a:gd name="connsiteY10" fmla="*/ 2870368 h 5143500"/>
              <a:gd name="connsiteX11" fmla="*/ 4547776 w 7321360"/>
              <a:gd name="connsiteY11" fmla="*/ 3009648 h 5143500"/>
              <a:gd name="connsiteX12" fmla="*/ 4711278 w 7321360"/>
              <a:gd name="connsiteY12" fmla="*/ 3106538 h 5143500"/>
              <a:gd name="connsiteX13" fmla="*/ 4947448 w 7321360"/>
              <a:gd name="connsiteY13" fmla="*/ 3154983 h 5143500"/>
              <a:gd name="connsiteX14" fmla="*/ 5274452 w 7321360"/>
              <a:gd name="connsiteY14" fmla="*/ 3112593 h 5143500"/>
              <a:gd name="connsiteX15" fmla="*/ 5546955 w 7321360"/>
              <a:gd name="connsiteY15" fmla="*/ 2985425 h 5143500"/>
              <a:gd name="connsiteX16" fmla="*/ 5916349 w 7321360"/>
              <a:gd name="connsiteY16" fmla="*/ 2797701 h 5143500"/>
              <a:gd name="connsiteX17" fmla="*/ 6237297 w 7321360"/>
              <a:gd name="connsiteY17" fmla="*/ 2718977 h 5143500"/>
              <a:gd name="connsiteX18" fmla="*/ 6515856 w 7321360"/>
              <a:gd name="connsiteY18" fmla="*/ 2749256 h 5143500"/>
              <a:gd name="connsiteX19" fmla="*/ 6794415 w 7321360"/>
              <a:gd name="connsiteY19" fmla="*/ 2846146 h 5143500"/>
              <a:gd name="connsiteX20" fmla="*/ 7048751 w 7321360"/>
              <a:gd name="connsiteY20" fmla="*/ 3070204 h 5143500"/>
              <a:gd name="connsiteX21" fmla="*/ 7188031 w 7321360"/>
              <a:gd name="connsiteY21" fmla="*/ 3330596 h 5143500"/>
              <a:gd name="connsiteX22" fmla="*/ 7290976 w 7321360"/>
              <a:gd name="connsiteY22" fmla="*/ 3681823 h 5143500"/>
              <a:gd name="connsiteX23" fmla="*/ 7321255 w 7321360"/>
              <a:gd name="connsiteY23" fmla="*/ 4075438 h 5143500"/>
              <a:gd name="connsiteX24" fmla="*/ 7297032 w 7321360"/>
              <a:gd name="connsiteY24" fmla="*/ 4384275 h 5143500"/>
              <a:gd name="connsiteX25" fmla="*/ 7206198 w 7321360"/>
              <a:gd name="connsiteY25" fmla="*/ 4753669 h 5143500"/>
              <a:gd name="connsiteX26" fmla="*/ 7080023 w 7321360"/>
              <a:gd name="connsiteY26" fmla="*/ 5128674 h 5143500"/>
              <a:gd name="connsiteX27" fmla="*/ 7072146 w 7321360"/>
              <a:gd name="connsiteY27" fmla="*/ 5143500 h 5143500"/>
              <a:gd name="connsiteX28" fmla="*/ 0 w 7321360"/>
              <a:gd name="connsiteY28" fmla="*/ 5143500 h 5143500"/>
              <a:gd name="connsiteX29" fmla="*/ 0 w 7321360"/>
              <a:gd name="connsiteY29"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321360" h="5143500">
                <a:moveTo>
                  <a:pt x="0" y="0"/>
                </a:moveTo>
                <a:lnTo>
                  <a:pt x="4062343" y="0"/>
                </a:lnTo>
                <a:lnTo>
                  <a:pt x="4066969" y="5204"/>
                </a:lnTo>
                <a:cubicBezTo>
                  <a:pt x="4130695" y="88564"/>
                  <a:pt x="4176112" y="216489"/>
                  <a:pt x="4214717" y="314893"/>
                </a:cubicBezTo>
                <a:cubicBezTo>
                  <a:pt x="4266190" y="446098"/>
                  <a:pt x="4290412" y="599507"/>
                  <a:pt x="4305551" y="726675"/>
                </a:cubicBezTo>
                <a:cubicBezTo>
                  <a:pt x="4320690" y="853843"/>
                  <a:pt x="4318671" y="959817"/>
                  <a:pt x="4305551" y="1077902"/>
                </a:cubicBezTo>
                <a:cubicBezTo>
                  <a:pt x="4292431" y="1195987"/>
                  <a:pt x="4243985" y="1332238"/>
                  <a:pt x="4226828" y="1435184"/>
                </a:cubicBezTo>
                <a:cubicBezTo>
                  <a:pt x="4209671" y="1538130"/>
                  <a:pt x="4204624" y="1552260"/>
                  <a:pt x="4202606" y="1695576"/>
                </a:cubicBezTo>
                <a:cubicBezTo>
                  <a:pt x="4200588" y="1838892"/>
                  <a:pt x="4197560" y="2137637"/>
                  <a:pt x="4214717" y="2295083"/>
                </a:cubicBezTo>
                <a:cubicBezTo>
                  <a:pt x="4231874" y="2452529"/>
                  <a:pt x="4273254" y="2544373"/>
                  <a:pt x="4305551" y="2640254"/>
                </a:cubicBezTo>
                <a:cubicBezTo>
                  <a:pt x="4337848" y="2736135"/>
                  <a:pt x="4368126" y="2808802"/>
                  <a:pt x="4408497" y="2870368"/>
                </a:cubicBezTo>
                <a:cubicBezTo>
                  <a:pt x="4448868" y="2931934"/>
                  <a:pt x="4497313" y="2970286"/>
                  <a:pt x="4547776" y="3009648"/>
                </a:cubicBezTo>
                <a:cubicBezTo>
                  <a:pt x="4598239" y="3049010"/>
                  <a:pt x="4644666" y="3082315"/>
                  <a:pt x="4711278" y="3106538"/>
                </a:cubicBezTo>
                <a:cubicBezTo>
                  <a:pt x="4777890" y="3130761"/>
                  <a:pt x="4853586" y="3153974"/>
                  <a:pt x="4947448" y="3154983"/>
                </a:cubicBezTo>
                <a:cubicBezTo>
                  <a:pt x="5041310" y="3155992"/>
                  <a:pt x="5174534" y="3140853"/>
                  <a:pt x="5274452" y="3112593"/>
                </a:cubicBezTo>
                <a:cubicBezTo>
                  <a:pt x="5374370" y="3084333"/>
                  <a:pt x="5439972" y="3037907"/>
                  <a:pt x="5546955" y="2985425"/>
                </a:cubicBezTo>
                <a:cubicBezTo>
                  <a:pt x="5653938" y="2932943"/>
                  <a:pt x="5801292" y="2842109"/>
                  <a:pt x="5916349" y="2797701"/>
                </a:cubicBezTo>
                <a:cubicBezTo>
                  <a:pt x="6031406" y="2753293"/>
                  <a:pt x="6137379" y="2727051"/>
                  <a:pt x="6237297" y="2718977"/>
                </a:cubicBezTo>
                <a:cubicBezTo>
                  <a:pt x="6337215" y="2710903"/>
                  <a:pt x="6423003" y="2728061"/>
                  <a:pt x="6515856" y="2749256"/>
                </a:cubicBezTo>
                <a:cubicBezTo>
                  <a:pt x="6608709" y="2770451"/>
                  <a:pt x="6705599" y="2792655"/>
                  <a:pt x="6794415" y="2846146"/>
                </a:cubicBezTo>
                <a:cubicBezTo>
                  <a:pt x="6883231" y="2899637"/>
                  <a:pt x="6983148" y="2989462"/>
                  <a:pt x="7048751" y="3070204"/>
                </a:cubicBezTo>
                <a:cubicBezTo>
                  <a:pt x="7114354" y="3150946"/>
                  <a:pt x="7147660" y="3228660"/>
                  <a:pt x="7188031" y="3330596"/>
                </a:cubicBezTo>
                <a:cubicBezTo>
                  <a:pt x="7228402" y="3432532"/>
                  <a:pt x="7268772" y="3557683"/>
                  <a:pt x="7290976" y="3681823"/>
                </a:cubicBezTo>
                <a:cubicBezTo>
                  <a:pt x="7313180" y="3805963"/>
                  <a:pt x="7320246" y="3958363"/>
                  <a:pt x="7321255" y="4075438"/>
                </a:cubicBezTo>
                <a:cubicBezTo>
                  <a:pt x="7322264" y="4192513"/>
                  <a:pt x="7316208" y="4271237"/>
                  <a:pt x="7297032" y="4384275"/>
                </a:cubicBezTo>
                <a:cubicBezTo>
                  <a:pt x="7277856" y="4497313"/>
                  <a:pt x="7244550" y="4625492"/>
                  <a:pt x="7206198" y="4753669"/>
                </a:cubicBezTo>
                <a:cubicBezTo>
                  <a:pt x="7172640" y="4865824"/>
                  <a:pt x="7114354" y="5053706"/>
                  <a:pt x="7080023" y="5128674"/>
                </a:cubicBezTo>
                <a:lnTo>
                  <a:pt x="7072146" y="5143500"/>
                </a:lnTo>
                <a:lnTo>
                  <a:pt x="0" y="5143500"/>
                </a:lnTo>
                <a:lnTo>
                  <a:pt x="0" y="0"/>
                </a:ln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13" name="Picture Placeholder 12">
            <a:extLst>
              <a:ext uri="{FF2B5EF4-FFF2-40B4-BE49-F238E27FC236}">
                <a16:creationId xmlns:a16="http://schemas.microsoft.com/office/drawing/2014/main" id="{8B6CB2E8-05CC-3648-A843-D844AE92EEAF}"/>
              </a:ext>
            </a:extLst>
          </p:cNvPr>
          <p:cNvSpPr>
            <a:spLocks noGrp="1"/>
          </p:cNvSpPr>
          <p:nvPr>
            <p:ph type="pic" sz="quarter" idx="10" hasCustomPrompt="1"/>
          </p:nvPr>
        </p:nvSpPr>
        <p:spPr>
          <a:xfrm>
            <a:off x="523201" y="1566139"/>
            <a:ext cx="4444503" cy="4640687"/>
          </a:xfrm>
          <a:prstGeom prst="rect">
            <a:avLst/>
          </a:prstGeom>
        </p:spPr>
        <p:txBody>
          <a:bodyPr anchor="t"/>
          <a:lstStyle>
            <a:lvl1pPr marL="0" indent="0" algn="l">
              <a:buFont typeface="Arial" panose="020B0604020202020204" pitchFamily="34" charset="0"/>
              <a:buNone/>
              <a:defRPr sz="1600">
                <a:solidFill>
                  <a:schemeClr val="bg1"/>
                </a:solidFill>
                <a:latin typeface="+mn-lt"/>
                <a:ea typeface="Roboto" panose="02000000000000000000" pitchFamily="2" charset="0"/>
              </a:defRPr>
            </a:lvl1pPr>
          </a:lstStyle>
          <a:p>
            <a:r>
              <a:rPr lang="nl-BE" dirty="0"/>
              <a:t>Foto (transparante achtergrond)</a:t>
            </a:r>
            <a:endParaRPr dirty="0"/>
          </a:p>
        </p:txBody>
      </p:sp>
      <p:sp>
        <p:nvSpPr>
          <p:cNvPr id="15" name="Text Placeholder 14">
            <a:extLst>
              <a:ext uri="{FF2B5EF4-FFF2-40B4-BE49-F238E27FC236}">
                <a16:creationId xmlns:a16="http://schemas.microsoft.com/office/drawing/2014/main" id="{B865C433-5983-1646-80B2-7D4671527BFB}"/>
              </a:ext>
            </a:extLst>
          </p:cNvPr>
          <p:cNvSpPr>
            <a:spLocks noGrp="1"/>
          </p:cNvSpPr>
          <p:nvPr>
            <p:ph type="body" sz="quarter" idx="11" hasCustomPrompt="1"/>
          </p:nvPr>
        </p:nvSpPr>
        <p:spPr>
          <a:xfrm>
            <a:off x="6096000" y="1566139"/>
            <a:ext cx="5572800" cy="1865039"/>
          </a:xfrm>
          <a:prstGeom prst="rect">
            <a:avLst/>
          </a:prstGeom>
        </p:spPr>
        <p:txBody>
          <a:bodyPr lIns="90000" rIns="90000"/>
          <a:lstStyle>
            <a:lvl1pPr marL="0" indent="0" algn="r">
              <a:buNone/>
              <a:defRPr sz="3733" b="1">
                <a:solidFill>
                  <a:schemeClr val="tx2"/>
                </a:solidFill>
                <a:latin typeface="+mj-lt"/>
                <a:ea typeface="Roboto" panose="02000000000000000000" pitchFamily="2" charset="0"/>
              </a:defRPr>
            </a:lvl1pPr>
          </a:lstStyle>
          <a:p>
            <a:pPr lvl="0"/>
            <a:r>
              <a:rPr lang="en-US" dirty="0" err="1"/>
              <a:t>Titelstijl</a:t>
            </a:r>
            <a:r>
              <a:rPr lang="en-US" dirty="0"/>
              <a:t> </a:t>
            </a:r>
            <a:r>
              <a:rPr lang="en-US" dirty="0" err="1"/>
              <a:t>bewerken</a:t>
            </a:r>
            <a:endParaRPr lang="en-US" dirty="0"/>
          </a:p>
        </p:txBody>
      </p:sp>
      <p:grpSp>
        <p:nvGrpSpPr>
          <p:cNvPr id="17" name="Graphic 6">
            <a:extLst>
              <a:ext uri="{FF2B5EF4-FFF2-40B4-BE49-F238E27FC236}">
                <a16:creationId xmlns:a16="http://schemas.microsoft.com/office/drawing/2014/main" id="{6384BE9A-06B4-4AA5-8834-EA6AF0A909B3}"/>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73DC5092-7CF6-4796-B5EF-878AC47C8D87}"/>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D7229AA2-4F28-438A-B73A-431638E54AD4}"/>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24419143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ussenslide2">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52C2ECCA-C0FA-4023-8BC7-42F374AAF209}"/>
              </a:ext>
            </a:extLst>
          </p:cNvPr>
          <p:cNvSpPr/>
          <p:nvPr userDrawn="1"/>
        </p:nvSpPr>
        <p:spPr bwMode="auto">
          <a:xfrm>
            <a:off x="1" y="1"/>
            <a:ext cx="7344140" cy="6858001"/>
          </a:xfrm>
          <a:custGeom>
            <a:avLst/>
            <a:gdLst>
              <a:gd name="connsiteX0" fmla="*/ 0 w 5508105"/>
              <a:gd name="connsiteY0" fmla="*/ 0 h 5143501"/>
              <a:gd name="connsiteX1" fmla="*/ 3738301 w 5508105"/>
              <a:gd name="connsiteY1" fmla="*/ 0 h 5143501"/>
              <a:gd name="connsiteX2" fmla="*/ 3738301 w 5508105"/>
              <a:gd name="connsiteY2" fmla="*/ 1 h 5143501"/>
              <a:gd name="connsiteX3" fmla="*/ 4104094 w 5508105"/>
              <a:gd name="connsiteY3" fmla="*/ 1 h 5143501"/>
              <a:gd name="connsiteX4" fmla="*/ 4176303 w 5508105"/>
              <a:gd name="connsiteY4" fmla="*/ 125903 h 5143501"/>
              <a:gd name="connsiteX5" fmla="*/ 4371024 w 5508105"/>
              <a:gd name="connsiteY5" fmla="*/ 796263 h 5143501"/>
              <a:gd name="connsiteX6" fmla="*/ 4672004 w 5508105"/>
              <a:gd name="connsiteY6" fmla="*/ 3663391 h 5143501"/>
              <a:gd name="connsiteX7" fmla="*/ 5455044 w 5508105"/>
              <a:gd name="connsiteY7" fmla="*/ 3731559 h 5143501"/>
              <a:gd name="connsiteX8" fmla="*/ 5508105 w 5508105"/>
              <a:gd name="connsiteY8" fmla="*/ 3707992 h 5143501"/>
              <a:gd name="connsiteX9" fmla="*/ 5508105 w 5508105"/>
              <a:gd name="connsiteY9" fmla="*/ 5143501 h 5143501"/>
              <a:gd name="connsiteX10" fmla="*/ 1655848 w 5508105"/>
              <a:gd name="connsiteY10" fmla="*/ 5143501 h 5143501"/>
              <a:gd name="connsiteX11" fmla="*/ 1655848 w 5508105"/>
              <a:gd name="connsiteY11" fmla="*/ 5143500 h 5143501"/>
              <a:gd name="connsiteX12" fmla="*/ 0 w 5508105"/>
              <a:gd name="connsiteY12" fmla="*/ 5143500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08105" h="5143501">
                <a:moveTo>
                  <a:pt x="0" y="0"/>
                </a:moveTo>
                <a:lnTo>
                  <a:pt x="3738301" y="0"/>
                </a:lnTo>
                <a:lnTo>
                  <a:pt x="3738301" y="1"/>
                </a:lnTo>
                <a:lnTo>
                  <a:pt x="4104094" y="1"/>
                </a:lnTo>
                <a:lnTo>
                  <a:pt x="4176303" y="125903"/>
                </a:lnTo>
                <a:cubicBezTo>
                  <a:pt x="4314112" y="382289"/>
                  <a:pt x="4391662" y="616422"/>
                  <a:pt x="4371024" y="796263"/>
                </a:cubicBezTo>
                <a:cubicBezTo>
                  <a:pt x="4271464" y="1679003"/>
                  <a:pt x="3957998" y="3297943"/>
                  <a:pt x="4672004" y="3663391"/>
                </a:cubicBezTo>
                <a:cubicBezTo>
                  <a:pt x="4996406" y="3830438"/>
                  <a:pt x="5238562" y="3814090"/>
                  <a:pt x="5455044" y="3731559"/>
                </a:cubicBezTo>
                <a:lnTo>
                  <a:pt x="5508105" y="3707992"/>
                </a:lnTo>
                <a:lnTo>
                  <a:pt x="5508105" y="5143501"/>
                </a:lnTo>
                <a:lnTo>
                  <a:pt x="1655848" y="5143501"/>
                </a:lnTo>
                <a:lnTo>
                  <a:pt x="1655848" y="5143500"/>
                </a:lnTo>
                <a:lnTo>
                  <a:pt x="0" y="5143500"/>
                </a:lnTo>
                <a:close/>
              </a:path>
            </a:pathLst>
          </a:custGeom>
          <a:solidFill>
            <a:schemeClr val="accent3"/>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15" name="Text Placeholder 14">
            <a:extLst>
              <a:ext uri="{FF2B5EF4-FFF2-40B4-BE49-F238E27FC236}">
                <a16:creationId xmlns:a16="http://schemas.microsoft.com/office/drawing/2014/main" id="{B865C433-5983-1646-80B2-7D4671527BFB}"/>
              </a:ext>
            </a:extLst>
          </p:cNvPr>
          <p:cNvSpPr>
            <a:spLocks noGrp="1"/>
          </p:cNvSpPr>
          <p:nvPr>
            <p:ph type="body" sz="quarter" idx="11" hasCustomPrompt="1"/>
          </p:nvPr>
        </p:nvSpPr>
        <p:spPr>
          <a:xfrm>
            <a:off x="6093600" y="1566139"/>
            <a:ext cx="5575200" cy="1865039"/>
          </a:xfrm>
          <a:prstGeom prst="rect">
            <a:avLst/>
          </a:prstGeom>
        </p:spPr>
        <p:txBody>
          <a:bodyPr lIns="90000" rIns="90000"/>
          <a:lstStyle>
            <a:lvl1pPr marL="0" indent="0" algn="r">
              <a:buNone/>
              <a:defRPr sz="3733" b="1">
                <a:solidFill>
                  <a:schemeClr val="tx2"/>
                </a:solidFill>
                <a:latin typeface="+mj-lt"/>
                <a:ea typeface="Roboto" panose="02000000000000000000" pitchFamily="2" charset="0"/>
              </a:defRPr>
            </a:lvl1pPr>
          </a:lstStyle>
          <a:p>
            <a:pPr lvl="0"/>
            <a:r>
              <a:rPr lang="en-US" dirty="0" err="1"/>
              <a:t>Titelstijl</a:t>
            </a:r>
            <a:r>
              <a:rPr lang="en-US" dirty="0"/>
              <a:t> </a:t>
            </a:r>
            <a:r>
              <a:rPr lang="en-US" dirty="0" err="1"/>
              <a:t>bewerken</a:t>
            </a:r>
            <a:endParaRPr lang="en-US" dirty="0"/>
          </a:p>
        </p:txBody>
      </p:sp>
      <p:pic>
        <p:nvPicPr>
          <p:cNvPr id="8" name="Picture Placeholder 10">
            <a:extLst>
              <a:ext uri="{FF2B5EF4-FFF2-40B4-BE49-F238E27FC236}">
                <a16:creationId xmlns:a16="http://schemas.microsoft.com/office/drawing/2014/main" id="{12BA3B7D-6D46-422E-81FA-F63E72EB9A99}"/>
              </a:ext>
            </a:extLst>
          </p:cNvPr>
          <p:cNvPicPr>
            <a:picLocks noChangeAspect="1"/>
          </p:cNvPicPr>
          <p:nvPr userDrawn="1"/>
        </p:nvPicPr>
        <p:blipFill>
          <a:blip r:embed="rId2" cstate="screen">
            <a:extLst>
              <a:ext uri="{28A0092B-C50C-407E-A947-70E740481C1C}">
                <a14:useLocalDpi xmlns:a14="http://schemas.microsoft.com/office/drawing/2010/main"/>
              </a:ext>
            </a:extLst>
          </a:blip>
          <a:srcRect l="92" r="92"/>
          <a:stretch>
            <a:fillRect/>
          </a:stretch>
        </p:blipFill>
        <p:spPr>
          <a:xfrm>
            <a:off x="55481" y="555736"/>
            <a:ext cx="5934203" cy="6302264"/>
          </a:xfrm>
          <a:prstGeom prst="rect">
            <a:avLst/>
          </a:prstGeom>
        </p:spPr>
      </p:pic>
      <p:grpSp>
        <p:nvGrpSpPr>
          <p:cNvPr id="17" name="Graphic 6">
            <a:extLst>
              <a:ext uri="{FF2B5EF4-FFF2-40B4-BE49-F238E27FC236}">
                <a16:creationId xmlns:a16="http://schemas.microsoft.com/office/drawing/2014/main" id="{1394D3D2-BF62-44B4-B53C-D2A373E3F6F2}"/>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8" name="Freeform: Shape 17">
              <a:extLst>
                <a:ext uri="{FF2B5EF4-FFF2-40B4-BE49-F238E27FC236}">
                  <a16:creationId xmlns:a16="http://schemas.microsoft.com/office/drawing/2014/main" id="{EC750165-7714-4A0E-9091-521F06F95A4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9" name="Freeform: Shape 18">
              <a:extLst>
                <a:ext uri="{FF2B5EF4-FFF2-40B4-BE49-F238E27FC236}">
                  <a16:creationId xmlns:a16="http://schemas.microsoft.com/office/drawing/2014/main" id="{BEC56E4B-432B-42F2-A745-B89717ECFF1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33" name="Freeform: Shape 32">
            <a:extLst>
              <a:ext uri="{FF2B5EF4-FFF2-40B4-BE49-F238E27FC236}">
                <a16:creationId xmlns:a16="http://schemas.microsoft.com/office/drawing/2014/main" id="{88234F66-9AD5-4EC3-8663-827151917F19}"/>
              </a:ext>
            </a:extLst>
          </p:cNvPr>
          <p:cNvSpPr/>
          <p:nvPr userDrawn="1"/>
        </p:nvSpPr>
        <p:spPr bwMode="auto">
          <a:xfrm>
            <a:off x="1" y="3570003"/>
            <a:ext cx="12192000" cy="3287997"/>
          </a:xfrm>
          <a:custGeom>
            <a:avLst/>
            <a:gdLst>
              <a:gd name="connsiteX0" fmla="*/ 9143999 w 9144000"/>
              <a:gd name="connsiteY0" fmla="*/ 0 h 2465998"/>
              <a:gd name="connsiteX1" fmla="*/ 9144000 w 9144000"/>
              <a:gd name="connsiteY1" fmla="*/ 2427898 h 2465998"/>
              <a:gd name="connsiteX2" fmla="*/ 9144000 w 9144000"/>
              <a:gd name="connsiteY2" fmla="*/ 2427898 h 2465998"/>
              <a:gd name="connsiteX3" fmla="*/ 9144000 w 9144000"/>
              <a:gd name="connsiteY3" fmla="*/ 2465998 h 2465998"/>
              <a:gd name="connsiteX4" fmla="*/ 0 w 9144000"/>
              <a:gd name="connsiteY4" fmla="*/ 2465998 h 2465998"/>
              <a:gd name="connsiteX5" fmla="*/ 0 w 9144000"/>
              <a:gd name="connsiteY5" fmla="*/ 2427898 h 2465998"/>
              <a:gd name="connsiteX6" fmla="*/ 0 w 9144000"/>
              <a:gd name="connsiteY6" fmla="*/ 2148646 h 2465998"/>
              <a:gd name="connsiteX7" fmla="*/ 0 w 9144000"/>
              <a:gd name="connsiteY7" fmla="*/ 1200076 h 2465998"/>
              <a:gd name="connsiteX8" fmla="*/ 63847 w 9144000"/>
              <a:gd name="connsiteY8" fmla="*/ 1232040 h 2465998"/>
              <a:gd name="connsiteX9" fmla="*/ 1176078 w 9144000"/>
              <a:gd name="connsiteY9" fmla="*/ 1576515 h 2465998"/>
              <a:gd name="connsiteX10" fmla="*/ 6703313 w 9144000"/>
              <a:gd name="connsiteY10" fmla="*/ 547416 h 2465998"/>
              <a:gd name="connsiteX11" fmla="*/ 8910994 w 9144000"/>
              <a:gd name="connsiteY11" fmla="*/ 9267 h 2465998"/>
              <a:gd name="connsiteX0" fmla="*/ 9143999 w 9144000"/>
              <a:gd name="connsiteY0" fmla="*/ 0 h 2465998"/>
              <a:gd name="connsiteX1" fmla="*/ 9144000 w 9144000"/>
              <a:gd name="connsiteY1" fmla="*/ 2427898 h 2465998"/>
              <a:gd name="connsiteX2" fmla="*/ 9144000 w 9144000"/>
              <a:gd name="connsiteY2" fmla="*/ 2465998 h 2465998"/>
              <a:gd name="connsiteX3" fmla="*/ 0 w 9144000"/>
              <a:gd name="connsiteY3" fmla="*/ 2465998 h 2465998"/>
              <a:gd name="connsiteX4" fmla="*/ 0 w 9144000"/>
              <a:gd name="connsiteY4" fmla="*/ 2427898 h 2465998"/>
              <a:gd name="connsiteX5" fmla="*/ 0 w 9144000"/>
              <a:gd name="connsiteY5" fmla="*/ 2148646 h 2465998"/>
              <a:gd name="connsiteX6" fmla="*/ 0 w 9144000"/>
              <a:gd name="connsiteY6" fmla="*/ 1200076 h 2465998"/>
              <a:gd name="connsiteX7" fmla="*/ 63847 w 9144000"/>
              <a:gd name="connsiteY7" fmla="*/ 1232040 h 2465998"/>
              <a:gd name="connsiteX8" fmla="*/ 1176078 w 9144000"/>
              <a:gd name="connsiteY8" fmla="*/ 1576515 h 2465998"/>
              <a:gd name="connsiteX9" fmla="*/ 6703313 w 9144000"/>
              <a:gd name="connsiteY9" fmla="*/ 547416 h 2465998"/>
              <a:gd name="connsiteX10" fmla="*/ 8910994 w 9144000"/>
              <a:gd name="connsiteY10" fmla="*/ 9267 h 2465998"/>
              <a:gd name="connsiteX11" fmla="*/ 9143999 w 9144000"/>
              <a:gd name="connsiteY11" fmla="*/ 0 h 2465998"/>
              <a:gd name="connsiteX0" fmla="*/ 9143999 w 9830045"/>
              <a:gd name="connsiteY0" fmla="*/ 0 h 2465998"/>
              <a:gd name="connsiteX1" fmla="*/ 9144000 w 9830045"/>
              <a:gd name="connsiteY1" fmla="*/ 2465998 h 2465998"/>
              <a:gd name="connsiteX2" fmla="*/ 0 w 9830045"/>
              <a:gd name="connsiteY2" fmla="*/ 2465998 h 2465998"/>
              <a:gd name="connsiteX3" fmla="*/ 0 w 9830045"/>
              <a:gd name="connsiteY3" fmla="*/ 2427898 h 2465998"/>
              <a:gd name="connsiteX4" fmla="*/ 0 w 9830045"/>
              <a:gd name="connsiteY4" fmla="*/ 2148646 h 2465998"/>
              <a:gd name="connsiteX5" fmla="*/ 0 w 9830045"/>
              <a:gd name="connsiteY5" fmla="*/ 1200076 h 2465998"/>
              <a:gd name="connsiteX6" fmla="*/ 63847 w 9830045"/>
              <a:gd name="connsiteY6" fmla="*/ 1232040 h 2465998"/>
              <a:gd name="connsiteX7" fmla="*/ 1176078 w 9830045"/>
              <a:gd name="connsiteY7" fmla="*/ 1576515 h 2465998"/>
              <a:gd name="connsiteX8" fmla="*/ 6703313 w 9830045"/>
              <a:gd name="connsiteY8" fmla="*/ 547416 h 2465998"/>
              <a:gd name="connsiteX9" fmla="*/ 8910994 w 9830045"/>
              <a:gd name="connsiteY9" fmla="*/ 9267 h 2465998"/>
              <a:gd name="connsiteX10" fmla="*/ 9143999 w 9830045"/>
              <a:gd name="connsiteY10" fmla="*/ 0 h 2465998"/>
              <a:gd name="connsiteX0" fmla="*/ 9143999 w 9144000"/>
              <a:gd name="connsiteY0" fmla="*/ 0 h 2465998"/>
              <a:gd name="connsiteX1" fmla="*/ 9144000 w 9144000"/>
              <a:gd name="connsiteY1" fmla="*/ 2465998 h 2465998"/>
              <a:gd name="connsiteX2" fmla="*/ 0 w 9144000"/>
              <a:gd name="connsiteY2" fmla="*/ 2465998 h 2465998"/>
              <a:gd name="connsiteX3" fmla="*/ 0 w 9144000"/>
              <a:gd name="connsiteY3" fmla="*/ 2427898 h 2465998"/>
              <a:gd name="connsiteX4" fmla="*/ 0 w 9144000"/>
              <a:gd name="connsiteY4" fmla="*/ 2148646 h 2465998"/>
              <a:gd name="connsiteX5" fmla="*/ 0 w 9144000"/>
              <a:gd name="connsiteY5" fmla="*/ 1200076 h 2465998"/>
              <a:gd name="connsiteX6" fmla="*/ 63847 w 9144000"/>
              <a:gd name="connsiteY6" fmla="*/ 1232040 h 2465998"/>
              <a:gd name="connsiteX7" fmla="*/ 1176078 w 9144000"/>
              <a:gd name="connsiteY7" fmla="*/ 1576515 h 2465998"/>
              <a:gd name="connsiteX8" fmla="*/ 6703313 w 9144000"/>
              <a:gd name="connsiteY8" fmla="*/ 547416 h 2465998"/>
              <a:gd name="connsiteX9" fmla="*/ 8910994 w 9144000"/>
              <a:gd name="connsiteY9" fmla="*/ 9267 h 2465998"/>
              <a:gd name="connsiteX10" fmla="*/ 9143999 w 9144000"/>
              <a:gd name="connsiteY10" fmla="*/ 0 h 2465998"/>
              <a:gd name="connsiteX0" fmla="*/ 9143999 w 9144000"/>
              <a:gd name="connsiteY0" fmla="*/ 0 h 2465998"/>
              <a:gd name="connsiteX1" fmla="*/ 9144000 w 9144000"/>
              <a:gd name="connsiteY1" fmla="*/ 2465998 h 2465998"/>
              <a:gd name="connsiteX2" fmla="*/ 0 w 9144000"/>
              <a:gd name="connsiteY2" fmla="*/ 2465998 h 2465998"/>
              <a:gd name="connsiteX3" fmla="*/ 0 w 9144000"/>
              <a:gd name="connsiteY3" fmla="*/ 2427898 h 2465998"/>
              <a:gd name="connsiteX4" fmla="*/ 0 w 9144000"/>
              <a:gd name="connsiteY4" fmla="*/ 1200076 h 2465998"/>
              <a:gd name="connsiteX5" fmla="*/ 63847 w 9144000"/>
              <a:gd name="connsiteY5" fmla="*/ 1232040 h 2465998"/>
              <a:gd name="connsiteX6" fmla="*/ 1176078 w 9144000"/>
              <a:gd name="connsiteY6" fmla="*/ 1576515 h 2465998"/>
              <a:gd name="connsiteX7" fmla="*/ 6703313 w 9144000"/>
              <a:gd name="connsiteY7" fmla="*/ 547416 h 2465998"/>
              <a:gd name="connsiteX8" fmla="*/ 8910994 w 9144000"/>
              <a:gd name="connsiteY8" fmla="*/ 9267 h 2465998"/>
              <a:gd name="connsiteX9" fmla="*/ 9143999 w 9144000"/>
              <a:gd name="connsiteY9" fmla="*/ 0 h 2465998"/>
              <a:gd name="connsiteX0" fmla="*/ 9143999 w 9144000"/>
              <a:gd name="connsiteY0" fmla="*/ 0 h 2465998"/>
              <a:gd name="connsiteX1" fmla="*/ 9144000 w 9144000"/>
              <a:gd name="connsiteY1" fmla="*/ 2465998 h 2465998"/>
              <a:gd name="connsiteX2" fmla="*/ 0 w 9144000"/>
              <a:gd name="connsiteY2" fmla="*/ 2465998 h 2465998"/>
              <a:gd name="connsiteX3" fmla="*/ 0 w 9144000"/>
              <a:gd name="connsiteY3" fmla="*/ 1200076 h 2465998"/>
              <a:gd name="connsiteX4" fmla="*/ 63847 w 9144000"/>
              <a:gd name="connsiteY4" fmla="*/ 1232040 h 2465998"/>
              <a:gd name="connsiteX5" fmla="*/ 1176078 w 9144000"/>
              <a:gd name="connsiteY5" fmla="*/ 1576515 h 2465998"/>
              <a:gd name="connsiteX6" fmla="*/ 6703313 w 9144000"/>
              <a:gd name="connsiteY6" fmla="*/ 547416 h 2465998"/>
              <a:gd name="connsiteX7" fmla="*/ 8910994 w 9144000"/>
              <a:gd name="connsiteY7" fmla="*/ 9267 h 2465998"/>
              <a:gd name="connsiteX8" fmla="*/ 9143999 w 9144000"/>
              <a:gd name="connsiteY8" fmla="*/ 0 h 246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0" h="2465998">
                <a:moveTo>
                  <a:pt x="9143999" y="0"/>
                </a:moveTo>
                <a:cubicBezTo>
                  <a:pt x="9143999" y="821999"/>
                  <a:pt x="9144000" y="1643999"/>
                  <a:pt x="9144000" y="2465998"/>
                </a:cubicBezTo>
                <a:lnTo>
                  <a:pt x="0" y="2465998"/>
                </a:lnTo>
                <a:lnTo>
                  <a:pt x="0" y="1200076"/>
                </a:lnTo>
                <a:lnTo>
                  <a:pt x="63847" y="1232040"/>
                </a:lnTo>
                <a:cubicBezTo>
                  <a:pt x="371386" y="1374713"/>
                  <a:pt x="739424" y="1490694"/>
                  <a:pt x="1176078" y="1576515"/>
                </a:cubicBezTo>
                <a:cubicBezTo>
                  <a:pt x="2605001" y="1854269"/>
                  <a:pt x="4279379" y="1615585"/>
                  <a:pt x="6703313" y="547416"/>
                </a:cubicBezTo>
                <a:cubicBezTo>
                  <a:pt x="7434675" y="224909"/>
                  <a:pt x="8172494" y="52834"/>
                  <a:pt x="8910994" y="9267"/>
                </a:cubicBezTo>
                <a:lnTo>
                  <a:pt x="9143999" y="0"/>
                </a:ln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Tree>
    <p:extLst>
      <p:ext uri="{BB962C8B-B14F-4D97-AF65-F5344CB8AC3E}">
        <p14:creationId xmlns:p14="http://schemas.microsoft.com/office/powerpoint/2010/main" val="1650797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ussenslide3">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DC7D67F1-61A0-A644-97D8-71C91EC3DB58}"/>
              </a:ext>
            </a:extLst>
          </p:cNvPr>
          <p:cNvSpPr>
            <a:spLocks noGrp="1"/>
          </p:cNvSpPr>
          <p:nvPr>
            <p:ph type="body" sz="quarter" idx="11" hasCustomPrompt="1"/>
          </p:nvPr>
        </p:nvSpPr>
        <p:spPr>
          <a:xfrm>
            <a:off x="523200" y="1566137"/>
            <a:ext cx="4603200" cy="4502400"/>
          </a:xfrm>
          <a:prstGeom prst="rect">
            <a:avLst/>
          </a:prstGeom>
        </p:spPr>
        <p:txBody>
          <a:bodyPr lIns="90000" rIns="90000"/>
          <a:lstStyle>
            <a:lvl1pPr marL="0" indent="0" algn="l">
              <a:buNone/>
              <a:defRPr sz="3733" b="1">
                <a:solidFill>
                  <a:schemeClr val="tx2"/>
                </a:solidFill>
                <a:latin typeface="+mj-lt"/>
                <a:ea typeface="Roboto" panose="02000000000000000000" pitchFamily="2" charset="0"/>
              </a:defRPr>
            </a:lvl1pPr>
          </a:lstStyle>
          <a:p>
            <a:pPr lvl="0"/>
            <a:r>
              <a:rPr lang="en-US" dirty="0" err="1"/>
              <a:t>Titelstijl</a:t>
            </a:r>
            <a:r>
              <a:rPr lang="en-US" dirty="0"/>
              <a:t> </a:t>
            </a:r>
            <a:r>
              <a:rPr lang="en-US" dirty="0" err="1"/>
              <a:t>bewerken</a:t>
            </a:r>
            <a:endParaRPr lang="en-US" dirty="0"/>
          </a:p>
        </p:txBody>
      </p:sp>
      <p:grpSp>
        <p:nvGrpSpPr>
          <p:cNvPr id="19" name="Graphic 6">
            <a:extLst>
              <a:ext uri="{FF2B5EF4-FFF2-40B4-BE49-F238E27FC236}">
                <a16:creationId xmlns:a16="http://schemas.microsoft.com/office/drawing/2014/main" id="{18F7FA1A-7E47-4797-A7B0-055F265488DE}"/>
              </a:ext>
            </a:extLst>
          </p:cNvPr>
          <p:cNvGrpSpPr>
            <a:grpSpLocks noChangeAspect="1"/>
          </p:cNvGrpSpPr>
          <p:nvPr userDrawn="1"/>
        </p:nvGrpSpPr>
        <p:grpSpPr>
          <a:xfrm>
            <a:off x="9938029" y="651172"/>
            <a:ext cx="1603572" cy="475823"/>
            <a:chOff x="1454943" y="1645443"/>
            <a:chExt cx="6227445" cy="1847850"/>
          </a:xfrm>
          <a:solidFill>
            <a:schemeClr val="bg1"/>
          </a:solidFill>
        </p:grpSpPr>
        <p:sp>
          <p:nvSpPr>
            <p:cNvPr id="20" name="Freeform: Shape 19">
              <a:extLst>
                <a:ext uri="{FF2B5EF4-FFF2-40B4-BE49-F238E27FC236}">
                  <a16:creationId xmlns:a16="http://schemas.microsoft.com/office/drawing/2014/main" id="{5020896C-68E8-4F54-9AF9-EB010196012F}"/>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1" name="Freeform: Shape 20">
              <a:extLst>
                <a:ext uri="{FF2B5EF4-FFF2-40B4-BE49-F238E27FC236}">
                  <a16:creationId xmlns:a16="http://schemas.microsoft.com/office/drawing/2014/main" id="{4EF2CD48-58E5-46E0-9F43-56FB83E49444}"/>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3" name="Freeform: Shape 12">
            <a:extLst>
              <a:ext uri="{FF2B5EF4-FFF2-40B4-BE49-F238E27FC236}">
                <a16:creationId xmlns:a16="http://schemas.microsoft.com/office/drawing/2014/main" id="{F11708EB-ABD8-4012-9FD4-D46F47DD7BC3}"/>
              </a:ext>
            </a:extLst>
          </p:cNvPr>
          <p:cNvSpPr/>
          <p:nvPr userDrawn="1"/>
        </p:nvSpPr>
        <p:spPr bwMode="auto">
          <a:xfrm>
            <a:off x="5509438" y="1"/>
            <a:ext cx="6682564" cy="6857999"/>
          </a:xfrm>
          <a:custGeom>
            <a:avLst/>
            <a:gdLst>
              <a:gd name="connsiteX0" fmla="*/ 0 w 5011923"/>
              <a:gd name="connsiteY0" fmla="*/ 0 h 5143499"/>
              <a:gd name="connsiteX1" fmla="*/ 5011923 w 5011923"/>
              <a:gd name="connsiteY1" fmla="*/ 0 h 5143499"/>
              <a:gd name="connsiteX2" fmla="*/ 5011923 w 5011923"/>
              <a:gd name="connsiteY2" fmla="*/ 5143499 h 5143499"/>
              <a:gd name="connsiteX3" fmla="*/ 2882932 w 5011923"/>
              <a:gd name="connsiteY3" fmla="*/ 5143499 h 5143499"/>
              <a:gd name="connsiteX4" fmla="*/ 2894027 w 5011923"/>
              <a:gd name="connsiteY4" fmla="*/ 5117476 h 5143499"/>
              <a:gd name="connsiteX5" fmla="*/ 2603738 w 5011923"/>
              <a:gd name="connsiteY5" fmla="*/ 2886321 h 5143499"/>
              <a:gd name="connsiteX6" fmla="*/ 534179 w 5011923"/>
              <a:gd name="connsiteY6" fmla="*/ 3087842 h 5143499"/>
              <a:gd name="connsiteX7" fmla="*/ 232577 w 5011923"/>
              <a:gd name="connsiteY7" fmla="*/ 658945 h 5143499"/>
              <a:gd name="connsiteX8" fmla="*/ 55878 w 5011923"/>
              <a:gd name="connsiteY8" fmla="*/ 93125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1923" h="5143499">
                <a:moveTo>
                  <a:pt x="0" y="0"/>
                </a:moveTo>
                <a:lnTo>
                  <a:pt x="5011923" y="0"/>
                </a:lnTo>
                <a:lnTo>
                  <a:pt x="5011923" y="5143499"/>
                </a:lnTo>
                <a:lnTo>
                  <a:pt x="2882932" y="5143499"/>
                </a:lnTo>
                <a:lnTo>
                  <a:pt x="2894027" y="5117476"/>
                </a:lnTo>
                <a:cubicBezTo>
                  <a:pt x="3268555" y="4141331"/>
                  <a:pt x="3090937" y="3124737"/>
                  <a:pt x="2603738" y="2886321"/>
                </a:cubicBezTo>
                <a:cubicBezTo>
                  <a:pt x="1569350" y="2380135"/>
                  <a:pt x="1424447" y="3523495"/>
                  <a:pt x="534179" y="3087842"/>
                </a:cubicBezTo>
                <a:cubicBezTo>
                  <a:pt x="-78212" y="2788173"/>
                  <a:pt x="162047" y="1409304"/>
                  <a:pt x="232577" y="658945"/>
                </a:cubicBezTo>
                <a:cubicBezTo>
                  <a:pt x="246962" y="505873"/>
                  <a:pt x="177148" y="308434"/>
                  <a:pt x="55878" y="93125"/>
                </a:cubicBezTo>
                <a:close/>
              </a:path>
            </a:pathLst>
          </a:custGeom>
          <a:solidFill>
            <a:srgbClr val="ED8B0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Regular" panose="02000506030000020004" pitchFamily="2" charset="77"/>
              <a:ea typeface="Roboto" charset="0"/>
              <a:cs typeface="Roboto" charset="0"/>
              <a:sym typeface="Helvetica Light" charset="0"/>
            </a:endParaRPr>
          </a:p>
        </p:txBody>
      </p:sp>
      <p:sp>
        <p:nvSpPr>
          <p:cNvPr id="17" name="Picture Placeholder 16">
            <a:extLst>
              <a:ext uri="{FF2B5EF4-FFF2-40B4-BE49-F238E27FC236}">
                <a16:creationId xmlns:a16="http://schemas.microsoft.com/office/drawing/2014/main" id="{CCAC77CE-6681-4CCA-A797-ADB8DF9114E5}"/>
              </a:ext>
            </a:extLst>
          </p:cNvPr>
          <p:cNvSpPr>
            <a:spLocks noGrp="1"/>
          </p:cNvSpPr>
          <p:nvPr>
            <p:ph type="pic" sz="quarter" idx="13"/>
          </p:nvPr>
        </p:nvSpPr>
        <p:spPr>
          <a:xfrm rot="-120000">
            <a:off x="8077547" y="2838811"/>
            <a:ext cx="2069947" cy="2754397"/>
          </a:xfrm>
          <a:prstGeom prst="rect">
            <a:avLst/>
          </a:prstGeom>
          <a:solidFill>
            <a:schemeClr val="bg2"/>
          </a:solidFill>
        </p:spPr>
        <p:txBody>
          <a:bodyPr/>
          <a:lstStyle>
            <a:lvl1pPr marL="0" indent="0">
              <a:buFont typeface="Arial" panose="020B0604020202020204" pitchFamily="34" charset="0"/>
              <a:buNone/>
              <a:defRPr sz="1600"/>
            </a:lvl1pPr>
          </a:lstStyle>
          <a:p>
            <a:endParaRPr lang="nl-BE" dirty="0"/>
          </a:p>
        </p:txBody>
      </p:sp>
      <p:sp>
        <p:nvSpPr>
          <p:cNvPr id="9" name="Text Placeholder 8">
            <a:extLst>
              <a:ext uri="{FF2B5EF4-FFF2-40B4-BE49-F238E27FC236}">
                <a16:creationId xmlns:a16="http://schemas.microsoft.com/office/drawing/2014/main" id="{6046F5BF-890A-4535-9CA9-51966141DD79}"/>
              </a:ext>
            </a:extLst>
          </p:cNvPr>
          <p:cNvSpPr>
            <a:spLocks noGrp="1"/>
          </p:cNvSpPr>
          <p:nvPr>
            <p:ph type="body" sz="quarter" idx="12" hasCustomPrompt="1"/>
          </p:nvPr>
        </p:nvSpPr>
        <p:spPr>
          <a:xfrm>
            <a:off x="5807968" y="2372883"/>
            <a:ext cx="6384032" cy="4484451"/>
          </a:xfrm>
          <a:prstGeom prst="rect">
            <a:avLst/>
          </a:prstGeom>
          <a:blipFill>
            <a:blip r:embed="rId2"/>
            <a:stretch>
              <a:fillRect l="-35606" t="-58201" r="-31084" b="1"/>
            </a:stretch>
          </a:blipFill>
        </p:spPr>
        <p:txBody>
          <a:bodyPr/>
          <a:lstStyle>
            <a:lvl1pPr marL="0" indent="0">
              <a:buNone/>
              <a:defRPr sz="800">
                <a:solidFill>
                  <a:schemeClr val="tx1">
                    <a:alpha val="0"/>
                  </a:schemeClr>
                </a:solidFill>
              </a:defRPr>
            </a:lvl1pPr>
          </a:lstStyle>
          <a:p>
            <a:pPr lvl="0"/>
            <a:r>
              <a:rPr lang="nl-BE" dirty="0"/>
              <a:t>x</a:t>
            </a:r>
          </a:p>
        </p:txBody>
      </p:sp>
    </p:spTree>
    <p:extLst>
      <p:ext uri="{BB962C8B-B14F-4D97-AF65-F5344CB8AC3E}">
        <p14:creationId xmlns:p14="http://schemas.microsoft.com/office/powerpoint/2010/main" val="39645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to slide 2">
    <p:bg>
      <p:bgPr>
        <a:solidFill>
          <a:schemeClr val="accent1"/>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9DCAF74E-12E5-4F07-BE90-3DEE92F7FFF2}"/>
              </a:ext>
            </a:extLst>
          </p:cNvPr>
          <p:cNvSpPr>
            <a:spLocks noGrp="1"/>
          </p:cNvSpPr>
          <p:nvPr>
            <p:ph type="pic" sz="quarter" idx="10"/>
          </p:nvPr>
        </p:nvSpPr>
        <p:spPr>
          <a:xfrm>
            <a:off x="2069093" y="0"/>
            <a:ext cx="10122907" cy="6858000"/>
          </a:xfrm>
          <a:custGeom>
            <a:avLst/>
            <a:gdLst>
              <a:gd name="connsiteX0" fmla="*/ 708470 w 7592180"/>
              <a:gd name="connsiteY0" fmla="*/ 0 h 5143500"/>
              <a:gd name="connsiteX1" fmla="*/ 7592180 w 7592180"/>
              <a:gd name="connsiteY1" fmla="*/ 0 h 5143500"/>
              <a:gd name="connsiteX2" fmla="*/ 7592180 w 7592180"/>
              <a:gd name="connsiteY2" fmla="*/ 5143500 h 5143500"/>
              <a:gd name="connsiteX3" fmla="*/ 258527 w 7592180"/>
              <a:gd name="connsiteY3" fmla="*/ 5143500 h 5143500"/>
              <a:gd name="connsiteX4" fmla="*/ 708470 w 759218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2180" h="5143500">
                <a:moveTo>
                  <a:pt x="708470" y="0"/>
                </a:moveTo>
                <a:lnTo>
                  <a:pt x="7592180" y="0"/>
                </a:lnTo>
                <a:lnTo>
                  <a:pt x="7592180" y="5143500"/>
                </a:lnTo>
                <a:lnTo>
                  <a:pt x="258527" y="5143500"/>
                </a:lnTo>
                <a:cubicBezTo>
                  <a:pt x="-503157" y="3067050"/>
                  <a:pt x="655567" y="2236107"/>
                  <a:pt x="708470" y="0"/>
                </a:cubicBezTo>
                <a:close/>
              </a:path>
            </a:pathLst>
          </a:custGeom>
          <a:solidFill>
            <a:schemeClr val="bg2"/>
          </a:solidFill>
        </p:spPr>
        <p:txBody>
          <a:bodyPr wrap="square" anchor="ctr">
            <a:noAutofit/>
          </a:bodyPr>
          <a:lstStyle>
            <a:lvl1pPr marL="0" indent="0" algn="ctr">
              <a:buNone/>
              <a:defRPr/>
            </a:lvl1pPr>
          </a:lstStyle>
          <a:p>
            <a:r>
              <a:rPr lang="nl-NL"/>
              <a:t>Klik op het pictogram als u een afbeelding wilt toevoegen</a:t>
            </a:r>
            <a:endParaRPr dirty="0"/>
          </a:p>
        </p:txBody>
      </p:sp>
      <p:grpSp>
        <p:nvGrpSpPr>
          <p:cNvPr id="14" name="Graphic 6">
            <a:extLst>
              <a:ext uri="{FF2B5EF4-FFF2-40B4-BE49-F238E27FC236}">
                <a16:creationId xmlns:a16="http://schemas.microsoft.com/office/drawing/2014/main" id="{70DC81A1-A849-40DA-9D65-FE72254822D7}"/>
              </a:ext>
            </a:extLst>
          </p:cNvPr>
          <p:cNvGrpSpPr>
            <a:grpSpLocks noChangeAspect="1"/>
          </p:cNvGrpSpPr>
          <p:nvPr userDrawn="1"/>
        </p:nvGrpSpPr>
        <p:grpSpPr>
          <a:xfrm>
            <a:off x="650401" y="651172"/>
            <a:ext cx="1603572" cy="475823"/>
            <a:chOff x="1454943" y="1645443"/>
            <a:chExt cx="6227445" cy="1847850"/>
          </a:xfrm>
          <a:solidFill>
            <a:schemeClr val="bg1"/>
          </a:solidFill>
        </p:grpSpPr>
        <p:sp>
          <p:nvSpPr>
            <p:cNvPr id="15" name="Freeform: Shape 14">
              <a:extLst>
                <a:ext uri="{FF2B5EF4-FFF2-40B4-BE49-F238E27FC236}">
                  <a16:creationId xmlns:a16="http://schemas.microsoft.com/office/drawing/2014/main" id="{32F1A188-E10A-4A8B-90FC-08E0601EB62E}"/>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20B2E7C3-7BA1-4DCF-B8B7-CEB9B36F8FE2}"/>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800607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to slide1">
    <p:bg>
      <p:bgPr>
        <a:solidFill>
          <a:schemeClr val="accent1"/>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76A5275-899E-4E88-A7E1-8BD1BE00070B}"/>
              </a:ext>
            </a:extLst>
          </p:cNvPr>
          <p:cNvSpPr>
            <a:spLocks noGrp="1"/>
          </p:cNvSpPr>
          <p:nvPr>
            <p:ph type="pic" sz="quarter" idx="10"/>
          </p:nvPr>
        </p:nvSpPr>
        <p:spPr>
          <a:xfrm>
            <a:off x="0" y="-6643"/>
            <a:ext cx="11055749" cy="6864643"/>
          </a:xfrm>
          <a:custGeom>
            <a:avLst/>
            <a:gdLst>
              <a:gd name="connsiteX0" fmla="*/ 8224084 w 8291812"/>
              <a:gd name="connsiteY0" fmla="*/ 0 h 5148482"/>
              <a:gd name="connsiteX1" fmla="*/ 6931224 w 8291812"/>
              <a:gd name="connsiteY1" fmla="*/ 5148482 h 5148482"/>
              <a:gd name="connsiteX2" fmla="*/ 0 w 8291812"/>
              <a:gd name="connsiteY2" fmla="*/ 5148482 h 5148482"/>
              <a:gd name="connsiteX3" fmla="*/ 0 w 8291812"/>
              <a:gd name="connsiteY3" fmla="*/ 4875 h 5148482"/>
            </a:gdLst>
            <a:ahLst/>
            <a:cxnLst>
              <a:cxn ang="0">
                <a:pos x="connsiteX0" y="connsiteY0"/>
              </a:cxn>
              <a:cxn ang="0">
                <a:pos x="connsiteX1" y="connsiteY1"/>
              </a:cxn>
              <a:cxn ang="0">
                <a:pos x="connsiteX2" y="connsiteY2"/>
              </a:cxn>
              <a:cxn ang="0">
                <a:pos x="connsiteX3" y="connsiteY3"/>
              </a:cxn>
            </a:cxnLst>
            <a:rect l="l" t="t" r="r" b="b"/>
            <a:pathLst>
              <a:path w="8291812" h="5148482">
                <a:moveTo>
                  <a:pt x="8224084" y="0"/>
                </a:moveTo>
                <a:cubicBezTo>
                  <a:pt x="8568743" y="1900897"/>
                  <a:pt x="7515033" y="2565302"/>
                  <a:pt x="6931224" y="5148482"/>
                </a:cubicBezTo>
                <a:lnTo>
                  <a:pt x="0" y="5148482"/>
                </a:lnTo>
                <a:lnTo>
                  <a:pt x="0" y="4875"/>
                </a:lnTo>
                <a:close/>
              </a:path>
            </a:pathLst>
          </a:custGeom>
          <a:solidFill>
            <a:schemeClr val="bg2"/>
          </a:solidFill>
        </p:spPr>
        <p:txBody>
          <a:bodyPr wrap="square" anchor="ctr">
            <a:noAutofit/>
          </a:bodyPr>
          <a:lstStyle>
            <a:lvl1pPr marL="0" indent="0" algn="ctr">
              <a:buNone/>
              <a:defRPr/>
            </a:lvl1pPr>
          </a:lstStyle>
          <a:p>
            <a:r>
              <a:rPr lang="nl-NL" dirty="0"/>
              <a:t>Klik op het pictogram als u een afbeelding wilt toevoegen</a:t>
            </a:r>
            <a:endParaRPr dirty="0"/>
          </a:p>
        </p:txBody>
      </p:sp>
      <p:grpSp>
        <p:nvGrpSpPr>
          <p:cNvPr id="11" name="Graphic 6">
            <a:extLst>
              <a:ext uri="{FF2B5EF4-FFF2-40B4-BE49-F238E27FC236}">
                <a16:creationId xmlns:a16="http://schemas.microsoft.com/office/drawing/2014/main" id="{8487AB0E-E2B6-4FD7-918C-87A50767EB32}"/>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13" name="Freeform: Shape 12">
              <a:extLst>
                <a:ext uri="{FF2B5EF4-FFF2-40B4-BE49-F238E27FC236}">
                  <a16:creationId xmlns:a16="http://schemas.microsoft.com/office/drawing/2014/main" id="{833D8700-9A7D-4469-A060-2C42E99E0E71}"/>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4" name="Freeform: Shape 13">
              <a:extLst>
                <a:ext uri="{FF2B5EF4-FFF2-40B4-BE49-F238E27FC236}">
                  <a16:creationId xmlns:a16="http://schemas.microsoft.com/office/drawing/2014/main" id="{8909C6AD-88F5-43C0-AA14-C976F75CF72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77464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 foto">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25022AC-E299-D143-B89C-CC2AA93AAC68}"/>
              </a:ext>
            </a:extLst>
          </p:cNvPr>
          <p:cNvSpPr>
            <a:spLocks noGrp="1"/>
          </p:cNvSpPr>
          <p:nvPr>
            <p:ph type="pic" sz="quarter" idx="11"/>
          </p:nvPr>
        </p:nvSpPr>
        <p:spPr>
          <a:xfrm>
            <a:off x="3254874" y="1"/>
            <a:ext cx="8937127" cy="6893551"/>
          </a:xfrm>
          <a:custGeom>
            <a:avLst/>
            <a:gdLst>
              <a:gd name="connsiteX0" fmla="*/ 0 w 6721642"/>
              <a:gd name="connsiteY0" fmla="*/ 0 h 5161537"/>
              <a:gd name="connsiteX1" fmla="*/ 6721642 w 6721642"/>
              <a:gd name="connsiteY1" fmla="*/ 0 h 5161537"/>
              <a:gd name="connsiteX2" fmla="*/ 6721642 w 6721642"/>
              <a:gd name="connsiteY2" fmla="*/ 5161537 h 5161537"/>
              <a:gd name="connsiteX3" fmla="*/ 0 w 6721642"/>
              <a:gd name="connsiteY3" fmla="*/ 5161537 h 5161537"/>
              <a:gd name="connsiteX4" fmla="*/ 0 w 6721642"/>
              <a:gd name="connsiteY4" fmla="*/ 0 h 5161537"/>
              <a:gd name="connsiteX0" fmla="*/ 8942 w 6730584"/>
              <a:gd name="connsiteY0" fmla="*/ 0 h 5161537"/>
              <a:gd name="connsiteX1" fmla="*/ 6730584 w 6730584"/>
              <a:gd name="connsiteY1" fmla="*/ 0 h 5161537"/>
              <a:gd name="connsiteX2" fmla="*/ 6730584 w 6730584"/>
              <a:gd name="connsiteY2" fmla="*/ 5161537 h 5161537"/>
              <a:gd name="connsiteX3" fmla="*/ 8942 w 6730584"/>
              <a:gd name="connsiteY3" fmla="*/ 5161537 h 5161537"/>
              <a:gd name="connsiteX4" fmla="*/ 0 w 6730584"/>
              <a:gd name="connsiteY4" fmla="*/ 963961 h 5161537"/>
              <a:gd name="connsiteX5" fmla="*/ 8942 w 6730584"/>
              <a:gd name="connsiteY5" fmla="*/ 0 h 5161537"/>
              <a:gd name="connsiteX0" fmla="*/ 505614 w 7227256"/>
              <a:gd name="connsiteY0" fmla="*/ 0 h 5161537"/>
              <a:gd name="connsiteX1" fmla="*/ 7227256 w 7227256"/>
              <a:gd name="connsiteY1" fmla="*/ 0 h 5161537"/>
              <a:gd name="connsiteX2" fmla="*/ 7227256 w 7227256"/>
              <a:gd name="connsiteY2" fmla="*/ 5161537 h 5161537"/>
              <a:gd name="connsiteX3" fmla="*/ 505614 w 7227256"/>
              <a:gd name="connsiteY3" fmla="*/ 5161537 h 5161537"/>
              <a:gd name="connsiteX4" fmla="*/ 481682 w 7227256"/>
              <a:gd name="connsiteY4" fmla="*/ 3317417 h 5161537"/>
              <a:gd name="connsiteX5" fmla="*/ 496672 w 7227256"/>
              <a:gd name="connsiteY5" fmla="*/ 963961 h 5161537"/>
              <a:gd name="connsiteX6" fmla="*/ 505614 w 7227256"/>
              <a:gd name="connsiteY6" fmla="*/ 0 h 5161537"/>
              <a:gd name="connsiteX0" fmla="*/ 306002 w 7027644"/>
              <a:gd name="connsiteY0" fmla="*/ 0 h 5161537"/>
              <a:gd name="connsiteX1" fmla="*/ 7027644 w 7027644"/>
              <a:gd name="connsiteY1" fmla="*/ 0 h 5161537"/>
              <a:gd name="connsiteX2" fmla="*/ 7027644 w 7027644"/>
              <a:gd name="connsiteY2" fmla="*/ 5161537 h 5161537"/>
              <a:gd name="connsiteX3" fmla="*/ 306002 w 7027644"/>
              <a:gd name="connsiteY3" fmla="*/ 5161537 h 5161537"/>
              <a:gd name="connsiteX4" fmla="*/ 282070 w 7027644"/>
              <a:gd name="connsiteY4" fmla="*/ 3317417 h 5161537"/>
              <a:gd name="connsiteX5" fmla="*/ 297060 w 7027644"/>
              <a:gd name="connsiteY5" fmla="*/ 963961 h 5161537"/>
              <a:gd name="connsiteX6" fmla="*/ 306002 w 7027644"/>
              <a:gd name="connsiteY6" fmla="*/ 0 h 5161537"/>
              <a:gd name="connsiteX0" fmla="*/ 306002 w 7027644"/>
              <a:gd name="connsiteY0" fmla="*/ 0 h 5161537"/>
              <a:gd name="connsiteX1" fmla="*/ 7027644 w 7027644"/>
              <a:gd name="connsiteY1" fmla="*/ 0 h 5161537"/>
              <a:gd name="connsiteX2" fmla="*/ 7027644 w 7027644"/>
              <a:gd name="connsiteY2" fmla="*/ 5161537 h 5161537"/>
              <a:gd name="connsiteX3" fmla="*/ 306002 w 7027644"/>
              <a:gd name="connsiteY3" fmla="*/ 5161537 h 5161537"/>
              <a:gd name="connsiteX4" fmla="*/ 282070 w 7027644"/>
              <a:gd name="connsiteY4" fmla="*/ 3317417 h 5161537"/>
              <a:gd name="connsiteX5" fmla="*/ 596864 w 7027644"/>
              <a:gd name="connsiteY5" fmla="*/ 978951 h 5161537"/>
              <a:gd name="connsiteX6" fmla="*/ 306002 w 7027644"/>
              <a:gd name="connsiteY6" fmla="*/ 0 h 5161537"/>
              <a:gd name="connsiteX0" fmla="*/ 306002 w 7027644"/>
              <a:gd name="connsiteY0" fmla="*/ 0 h 5161537"/>
              <a:gd name="connsiteX1" fmla="*/ 7027644 w 7027644"/>
              <a:gd name="connsiteY1" fmla="*/ 0 h 5161537"/>
              <a:gd name="connsiteX2" fmla="*/ 7027644 w 7027644"/>
              <a:gd name="connsiteY2" fmla="*/ 5161537 h 5161537"/>
              <a:gd name="connsiteX3" fmla="*/ 306002 w 7027644"/>
              <a:gd name="connsiteY3" fmla="*/ 5161537 h 5161537"/>
              <a:gd name="connsiteX4" fmla="*/ 282070 w 7027644"/>
              <a:gd name="connsiteY4" fmla="*/ 3317417 h 5161537"/>
              <a:gd name="connsiteX5" fmla="*/ 596864 w 7027644"/>
              <a:gd name="connsiteY5" fmla="*/ 978951 h 5161537"/>
              <a:gd name="connsiteX6" fmla="*/ 306002 w 7027644"/>
              <a:gd name="connsiteY6" fmla="*/ 0 h 5161537"/>
              <a:gd name="connsiteX0" fmla="*/ 306002 w 7027644"/>
              <a:gd name="connsiteY0" fmla="*/ 0 h 5161537"/>
              <a:gd name="connsiteX1" fmla="*/ 7027644 w 7027644"/>
              <a:gd name="connsiteY1" fmla="*/ 0 h 5161537"/>
              <a:gd name="connsiteX2" fmla="*/ 7027644 w 7027644"/>
              <a:gd name="connsiteY2" fmla="*/ 5161537 h 5161537"/>
              <a:gd name="connsiteX3" fmla="*/ 306002 w 7027644"/>
              <a:gd name="connsiteY3" fmla="*/ 5161537 h 5161537"/>
              <a:gd name="connsiteX4" fmla="*/ 282070 w 7027644"/>
              <a:gd name="connsiteY4" fmla="*/ 3317417 h 5161537"/>
              <a:gd name="connsiteX5" fmla="*/ 596864 w 7027644"/>
              <a:gd name="connsiteY5" fmla="*/ 978951 h 5161537"/>
              <a:gd name="connsiteX6" fmla="*/ 306002 w 7027644"/>
              <a:gd name="connsiteY6" fmla="*/ 0 h 5161537"/>
              <a:gd name="connsiteX0" fmla="*/ 306002 w 7027644"/>
              <a:gd name="connsiteY0" fmla="*/ 0 h 5161537"/>
              <a:gd name="connsiteX1" fmla="*/ 7027644 w 7027644"/>
              <a:gd name="connsiteY1" fmla="*/ 0 h 5161537"/>
              <a:gd name="connsiteX2" fmla="*/ 7027644 w 7027644"/>
              <a:gd name="connsiteY2" fmla="*/ 5161537 h 5161537"/>
              <a:gd name="connsiteX3" fmla="*/ 306002 w 7027644"/>
              <a:gd name="connsiteY3" fmla="*/ 5161537 h 5161537"/>
              <a:gd name="connsiteX4" fmla="*/ 282070 w 7027644"/>
              <a:gd name="connsiteY4" fmla="*/ 3317417 h 5161537"/>
              <a:gd name="connsiteX5" fmla="*/ 596864 w 7027644"/>
              <a:gd name="connsiteY5" fmla="*/ 978951 h 5161537"/>
              <a:gd name="connsiteX6" fmla="*/ 306002 w 7027644"/>
              <a:gd name="connsiteY6" fmla="*/ 0 h 5161537"/>
              <a:gd name="connsiteX0" fmla="*/ 260533 w 6982175"/>
              <a:gd name="connsiteY0" fmla="*/ 0 h 5161537"/>
              <a:gd name="connsiteX1" fmla="*/ 6982175 w 6982175"/>
              <a:gd name="connsiteY1" fmla="*/ 0 h 5161537"/>
              <a:gd name="connsiteX2" fmla="*/ 6982175 w 6982175"/>
              <a:gd name="connsiteY2" fmla="*/ 5161537 h 5161537"/>
              <a:gd name="connsiteX3" fmla="*/ 260533 w 6982175"/>
              <a:gd name="connsiteY3" fmla="*/ 5161537 h 5161537"/>
              <a:gd name="connsiteX4" fmla="*/ 761257 w 6982175"/>
              <a:gd name="connsiteY4" fmla="*/ 3002624 h 5161537"/>
              <a:gd name="connsiteX5" fmla="*/ 551395 w 6982175"/>
              <a:gd name="connsiteY5" fmla="*/ 978951 h 5161537"/>
              <a:gd name="connsiteX6" fmla="*/ 260533 w 6982175"/>
              <a:gd name="connsiteY6" fmla="*/ 0 h 5161537"/>
              <a:gd name="connsiteX0" fmla="*/ 260533 w 6982175"/>
              <a:gd name="connsiteY0" fmla="*/ 0 h 5161537"/>
              <a:gd name="connsiteX1" fmla="*/ 6982175 w 6982175"/>
              <a:gd name="connsiteY1" fmla="*/ 0 h 5161537"/>
              <a:gd name="connsiteX2" fmla="*/ 6982175 w 6982175"/>
              <a:gd name="connsiteY2" fmla="*/ 5161537 h 5161537"/>
              <a:gd name="connsiteX3" fmla="*/ 260533 w 6982175"/>
              <a:gd name="connsiteY3" fmla="*/ 5161537 h 5161537"/>
              <a:gd name="connsiteX4" fmla="*/ 761257 w 6982175"/>
              <a:gd name="connsiteY4" fmla="*/ 3002624 h 5161537"/>
              <a:gd name="connsiteX5" fmla="*/ 551395 w 6982175"/>
              <a:gd name="connsiteY5" fmla="*/ 978951 h 5161537"/>
              <a:gd name="connsiteX6" fmla="*/ 260533 w 6982175"/>
              <a:gd name="connsiteY6" fmla="*/ 0 h 5161537"/>
              <a:gd name="connsiteX0" fmla="*/ 260533 w 6982175"/>
              <a:gd name="connsiteY0" fmla="*/ 0 h 5161537"/>
              <a:gd name="connsiteX1" fmla="*/ 6982175 w 6982175"/>
              <a:gd name="connsiteY1" fmla="*/ 0 h 5161537"/>
              <a:gd name="connsiteX2" fmla="*/ 6982175 w 6982175"/>
              <a:gd name="connsiteY2" fmla="*/ 5161537 h 5161537"/>
              <a:gd name="connsiteX3" fmla="*/ 260533 w 6982175"/>
              <a:gd name="connsiteY3" fmla="*/ 5161537 h 5161537"/>
              <a:gd name="connsiteX4" fmla="*/ 761257 w 6982175"/>
              <a:gd name="connsiteY4" fmla="*/ 3002624 h 5161537"/>
              <a:gd name="connsiteX5" fmla="*/ 551395 w 6982175"/>
              <a:gd name="connsiteY5" fmla="*/ 978951 h 5161537"/>
              <a:gd name="connsiteX6" fmla="*/ 260533 w 6982175"/>
              <a:gd name="connsiteY6" fmla="*/ 0 h 5161537"/>
              <a:gd name="connsiteX0" fmla="*/ 260533 w 6982175"/>
              <a:gd name="connsiteY0" fmla="*/ 0 h 5161537"/>
              <a:gd name="connsiteX1" fmla="*/ 6982175 w 6982175"/>
              <a:gd name="connsiteY1" fmla="*/ 0 h 5161537"/>
              <a:gd name="connsiteX2" fmla="*/ 6982175 w 6982175"/>
              <a:gd name="connsiteY2" fmla="*/ 5161537 h 5161537"/>
              <a:gd name="connsiteX3" fmla="*/ 260533 w 6982175"/>
              <a:gd name="connsiteY3" fmla="*/ 5161537 h 5161537"/>
              <a:gd name="connsiteX4" fmla="*/ 761257 w 6982175"/>
              <a:gd name="connsiteY4" fmla="*/ 3002624 h 5161537"/>
              <a:gd name="connsiteX5" fmla="*/ 551395 w 6982175"/>
              <a:gd name="connsiteY5" fmla="*/ 978951 h 5161537"/>
              <a:gd name="connsiteX6" fmla="*/ 260533 w 6982175"/>
              <a:gd name="connsiteY6" fmla="*/ 0 h 5161537"/>
              <a:gd name="connsiteX0" fmla="*/ 394672 w 7116314"/>
              <a:gd name="connsiteY0" fmla="*/ 0 h 5161537"/>
              <a:gd name="connsiteX1" fmla="*/ 7116314 w 7116314"/>
              <a:gd name="connsiteY1" fmla="*/ 0 h 5161537"/>
              <a:gd name="connsiteX2" fmla="*/ 7116314 w 7116314"/>
              <a:gd name="connsiteY2" fmla="*/ 5161537 h 5161537"/>
              <a:gd name="connsiteX3" fmla="*/ 394672 w 7116314"/>
              <a:gd name="connsiteY3" fmla="*/ 5161537 h 5161537"/>
              <a:gd name="connsiteX4" fmla="*/ 801778 w 7116314"/>
              <a:gd name="connsiteY4" fmla="*/ 4093512 h 5161537"/>
              <a:gd name="connsiteX5" fmla="*/ 895396 w 7116314"/>
              <a:gd name="connsiteY5" fmla="*/ 3002624 h 5161537"/>
              <a:gd name="connsiteX6" fmla="*/ 685534 w 7116314"/>
              <a:gd name="connsiteY6" fmla="*/ 978951 h 5161537"/>
              <a:gd name="connsiteX7" fmla="*/ 394672 w 7116314"/>
              <a:gd name="connsiteY7" fmla="*/ 0 h 5161537"/>
              <a:gd name="connsiteX0" fmla="*/ 174431 w 6896073"/>
              <a:gd name="connsiteY0" fmla="*/ 0 h 5161537"/>
              <a:gd name="connsiteX1" fmla="*/ 6896073 w 6896073"/>
              <a:gd name="connsiteY1" fmla="*/ 0 h 5161537"/>
              <a:gd name="connsiteX2" fmla="*/ 6896073 w 6896073"/>
              <a:gd name="connsiteY2" fmla="*/ 5161537 h 5161537"/>
              <a:gd name="connsiteX3" fmla="*/ 174431 w 6896073"/>
              <a:gd name="connsiteY3" fmla="*/ 5161537 h 5161537"/>
              <a:gd name="connsiteX4" fmla="*/ 3255726 w 6896073"/>
              <a:gd name="connsiteY4" fmla="*/ 3153233 h 5161537"/>
              <a:gd name="connsiteX5" fmla="*/ 675155 w 6896073"/>
              <a:gd name="connsiteY5" fmla="*/ 3002624 h 5161537"/>
              <a:gd name="connsiteX6" fmla="*/ 465293 w 6896073"/>
              <a:gd name="connsiteY6" fmla="*/ 978951 h 5161537"/>
              <a:gd name="connsiteX7" fmla="*/ 174431 w 6896073"/>
              <a:gd name="connsiteY7"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689108 w 6910026"/>
              <a:gd name="connsiteY5" fmla="*/ 3002624 h 5161537"/>
              <a:gd name="connsiteX6" fmla="*/ 479246 w 6910026"/>
              <a:gd name="connsiteY6" fmla="*/ 978951 h 5161537"/>
              <a:gd name="connsiteX7" fmla="*/ 188384 w 6910026"/>
              <a:gd name="connsiteY7"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689108 w 6910026"/>
              <a:gd name="connsiteY5" fmla="*/ 3002624 h 5161537"/>
              <a:gd name="connsiteX6" fmla="*/ 479246 w 6910026"/>
              <a:gd name="connsiteY6" fmla="*/ 978951 h 5161537"/>
              <a:gd name="connsiteX7" fmla="*/ 188384 w 6910026"/>
              <a:gd name="connsiteY7"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689108 w 6910026"/>
              <a:gd name="connsiteY5" fmla="*/ 3002624 h 5161537"/>
              <a:gd name="connsiteX6" fmla="*/ 479246 w 6910026"/>
              <a:gd name="connsiteY6" fmla="*/ 978951 h 5161537"/>
              <a:gd name="connsiteX7" fmla="*/ 188384 w 6910026"/>
              <a:gd name="connsiteY7"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689108 w 6910026"/>
              <a:gd name="connsiteY5" fmla="*/ 3002624 h 5161537"/>
              <a:gd name="connsiteX6" fmla="*/ 479246 w 6910026"/>
              <a:gd name="connsiteY6" fmla="*/ 978951 h 5161537"/>
              <a:gd name="connsiteX7" fmla="*/ 188384 w 6910026"/>
              <a:gd name="connsiteY7"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673792 w 6910026"/>
              <a:gd name="connsiteY5" fmla="*/ 2920319 h 5161537"/>
              <a:gd name="connsiteX6" fmla="*/ 689108 w 6910026"/>
              <a:gd name="connsiteY6" fmla="*/ 3002624 h 5161537"/>
              <a:gd name="connsiteX7" fmla="*/ 479246 w 6910026"/>
              <a:gd name="connsiteY7" fmla="*/ 978951 h 5161537"/>
              <a:gd name="connsiteX8" fmla="*/ 188384 w 6910026"/>
              <a:gd name="connsiteY8"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725551 w 6910026"/>
              <a:gd name="connsiteY5" fmla="*/ 2997957 h 5161537"/>
              <a:gd name="connsiteX6" fmla="*/ 689108 w 6910026"/>
              <a:gd name="connsiteY6" fmla="*/ 3002624 h 5161537"/>
              <a:gd name="connsiteX7" fmla="*/ 479246 w 6910026"/>
              <a:gd name="connsiteY7" fmla="*/ 978951 h 5161537"/>
              <a:gd name="connsiteX8" fmla="*/ 188384 w 6910026"/>
              <a:gd name="connsiteY8"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725551 w 6910026"/>
              <a:gd name="connsiteY5" fmla="*/ 2997957 h 5161537"/>
              <a:gd name="connsiteX6" fmla="*/ 689108 w 6910026"/>
              <a:gd name="connsiteY6" fmla="*/ 3002624 h 5161537"/>
              <a:gd name="connsiteX7" fmla="*/ 479246 w 6910026"/>
              <a:gd name="connsiteY7" fmla="*/ 978951 h 5161537"/>
              <a:gd name="connsiteX8" fmla="*/ 188384 w 6910026"/>
              <a:gd name="connsiteY8"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725551 w 6910026"/>
              <a:gd name="connsiteY5" fmla="*/ 2997957 h 5161537"/>
              <a:gd name="connsiteX6" fmla="*/ 689108 w 6910026"/>
              <a:gd name="connsiteY6" fmla="*/ 3002624 h 5161537"/>
              <a:gd name="connsiteX7" fmla="*/ 479246 w 6910026"/>
              <a:gd name="connsiteY7" fmla="*/ 978951 h 5161537"/>
              <a:gd name="connsiteX8" fmla="*/ 188384 w 6910026"/>
              <a:gd name="connsiteY8"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725551 w 6910026"/>
              <a:gd name="connsiteY5" fmla="*/ 2997957 h 5161537"/>
              <a:gd name="connsiteX6" fmla="*/ 689108 w 6910026"/>
              <a:gd name="connsiteY6" fmla="*/ 3002624 h 5161537"/>
              <a:gd name="connsiteX7" fmla="*/ 479246 w 6910026"/>
              <a:gd name="connsiteY7" fmla="*/ 978951 h 5161537"/>
              <a:gd name="connsiteX8" fmla="*/ 188384 w 6910026"/>
              <a:gd name="connsiteY8" fmla="*/ 0 h 5161537"/>
              <a:gd name="connsiteX0" fmla="*/ 188384 w 6910026"/>
              <a:gd name="connsiteY0" fmla="*/ 0 h 5161537"/>
              <a:gd name="connsiteX1" fmla="*/ 6910026 w 6910026"/>
              <a:gd name="connsiteY1" fmla="*/ 0 h 5161537"/>
              <a:gd name="connsiteX2" fmla="*/ 6910026 w 6910026"/>
              <a:gd name="connsiteY2" fmla="*/ 5161537 h 5161537"/>
              <a:gd name="connsiteX3" fmla="*/ 188384 w 6910026"/>
              <a:gd name="connsiteY3" fmla="*/ 5161537 h 5161537"/>
              <a:gd name="connsiteX4" fmla="*/ 2915996 w 6910026"/>
              <a:gd name="connsiteY4" fmla="*/ 2885814 h 5161537"/>
              <a:gd name="connsiteX5" fmla="*/ 1725551 w 6910026"/>
              <a:gd name="connsiteY5" fmla="*/ 2997957 h 5161537"/>
              <a:gd name="connsiteX6" fmla="*/ 689108 w 6910026"/>
              <a:gd name="connsiteY6" fmla="*/ 3002624 h 5161537"/>
              <a:gd name="connsiteX7" fmla="*/ 479246 w 6910026"/>
              <a:gd name="connsiteY7" fmla="*/ 978951 h 5161537"/>
              <a:gd name="connsiteX8" fmla="*/ 188384 w 6910026"/>
              <a:gd name="connsiteY8" fmla="*/ 0 h 5161537"/>
              <a:gd name="connsiteX0" fmla="*/ 163802 w 6885444"/>
              <a:gd name="connsiteY0" fmla="*/ 0 h 5161537"/>
              <a:gd name="connsiteX1" fmla="*/ 6885444 w 6885444"/>
              <a:gd name="connsiteY1" fmla="*/ 0 h 5161537"/>
              <a:gd name="connsiteX2" fmla="*/ 6885444 w 6885444"/>
              <a:gd name="connsiteY2" fmla="*/ 5161537 h 5161537"/>
              <a:gd name="connsiteX3" fmla="*/ 163802 w 6885444"/>
              <a:gd name="connsiteY3" fmla="*/ 5161537 h 5161537"/>
              <a:gd name="connsiteX4" fmla="*/ 2891414 w 6885444"/>
              <a:gd name="connsiteY4" fmla="*/ 2885814 h 5161537"/>
              <a:gd name="connsiteX5" fmla="*/ 1700969 w 6885444"/>
              <a:gd name="connsiteY5" fmla="*/ 2997957 h 5161537"/>
              <a:gd name="connsiteX6" fmla="*/ 664526 w 6885444"/>
              <a:gd name="connsiteY6" fmla="*/ 3002624 h 5161537"/>
              <a:gd name="connsiteX7" fmla="*/ 454664 w 6885444"/>
              <a:gd name="connsiteY7" fmla="*/ 978951 h 5161537"/>
              <a:gd name="connsiteX8" fmla="*/ 163802 w 6885444"/>
              <a:gd name="connsiteY8" fmla="*/ 0 h 5161537"/>
              <a:gd name="connsiteX0" fmla="*/ 0 w 6721642"/>
              <a:gd name="connsiteY0" fmla="*/ 0 h 5170163"/>
              <a:gd name="connsiteX1" fmla="*/ 6721642 w 6721642"/>
              <a:gd name="connsiteY1" fmla="*/ 0 h 5170163"/>
              <a:gd name="connsiteX2" fmla="*/ 6721642 w 6721642"/>
              <a:gd name="connsiteY2" fmla="*/ 5161537 h 5170163"/>
              <a:gd name="connsiteX3" fmla="*/ 3053751 w 6721642"/>
              <a:gd name="connsiteY3" fmla="*/ 5170163 h 5170163"/>
              <a:gd name="connsiteX4" fmla="*/ 2727612 w 6721642"/>
              <a:gd name="connsiteY4" fmla="*/ 2885814 h 5170163"/>
              <a:gd name="connsiteX5" fmla="*/ 1537167 w 6721642"/>
              <a:gd name="connsiteY5" fmla="*/ 2997957 h 5170163"/>
              <a:gd name="connsiteX6" fmla="*/ 500724 w 6721642"/>
              <a:gd name="connsiteY6" fmla="*/ 3002624 h 5170163"/>
              <a:gd name="connsiteX7" fmla="*/ 290862 w 6721642"/>
              <a:gd name="connsiteY7" fmla="*/ 978951 h 5170163"/>
              <a:gd name="connsiteX8" fmla="*/ 0 w 6721642"/>
              <a:gd name="connsiteY8" fmla="*/ 0 h 5170163"/>
              <a:gd name="connsiteX0" fmla="*/ 0 w 6721642"/>
              <a:gd name="connsiteY0" fmla="*/ 0 h 5170163"/>
              <a:gd name="connsiteX1" fmla="*/ 6721642 w 6721642"/>
              <a:gd name="connsiteY1" fmla="*/ 0 h 5170163"/>
              <a:gd name="connsiteX2" fmla="*/ 6721642 w 6721642"/>
              <a:gd name="connsiteY2" fmla="*/ 5161537 h 5170163"/>
              <a:gd name="connsiteX3" fmla="*/ 3053751 w 6721642"/>
              <a:gd name="connsiteY3" fmla="*/ 5170163 h 5170163"/>
              <a:gd name="connsiteX4" fmla="*/ 2727612 w 6721642"/>
              <a:gd name="connsiteY4" fmla="*/ 2885814 h 5170163"/>
              <a:gd name="connsiteX5" fmla="*/ 1537167 w 6721642"/>
              <a:gd name="connsiteY5" fmla="*/ 2997957 h 5170163"/>
              <a:gd name="connsiteX6" fmla="*/ 500724 w 6721642"/>
              <a:gd name="connsiteY6" fmla="*/ 3002624 h 5170163"/>
              <a:gd name="connsiteX7" fmla="*/ 290862 w 6721642"/>
              <a:gd name="connsiteY7" fmla="*/ 978951 h 5170163"/>
              <a:gd name="connsiteX8" fmla="*/ 0 w 6721642"/>
              <a:gd name="connsiteY8" fmla="*/ 0 h 5170163"/>
              <a:gd name="connsiteX0" fmla="*/ 0 w 6721642"/>
              <a:gd name="connsiteY0" fmla="*/ 0 h 5170163"/>
              <a:gd name="connsiteX1" fmla="*/ 6721642 w 6721642"/>
              <a:gd name="connsiteY1" fmla="*/ 0 h 5170163"/>
              <a:gd name="connsiteX2" fmla="*/ 6721642 w 6721642"/>
              <a:gd name="connsiteY2" fmla="*/ 5161537 h 5170163"/>
              <a:gd name="connsiteX3" fmla="*/ 3053751 w 6721642"/>
              <a:gd name="connsiteY3" fmla="*/ 5170163 h 5170163"/>
              <a:gd name="connsiteX4" fmla="*/ 2727612 w 6721642"/>
              <a:gd name="connsiteY4" fmla="*/ 2885814 h 5170163"/>
              <a:gd name="connsiteX5" fmla="*/ 1537167 w 6721642"/>
              <a:gd name="connsiteY5" fmla="*/ 2997957 h 5170163"/>
              <a:gd name="connsiteX6" fmla="*/ 500724 w 6721642"/>
              <a:gd name="connsiteY6" fmla="*/ 3002624 h 5170163"/>
              <a:gd name="connsiteX7" fmla="*/ 290862 w 6721642"/>
              <a:gd name="connsiteY7" fmla="*/ 978951 h 5170163"/>
              <a:gd name="connsiteX8" fmla="*/ 0 w 6721642"/>
              <a:gd name="connsiteY8" fmla="*/ 0 h 5170163"/>
              <a:gd name="connsiteX0" fmla="*/ 0 w 6721642"/>
              <a:gd name="connsiteY0" fmla="*/ 0 h 5170163"/>
              <a:gd name="connsiteX1" fmla="*/ 6721642 w 6721642"/>
              <a:gd name="connsiteY1" fmla="*/ 0 h 5170163"/>
              <a:gd name="connsiteX2" fmla="*/ 6721642 w 6721642"/>
              <a:gd name="connsiteY2" fmla="*/ 5161537 h 5170163"/>
              <a:gd name="connsiteX3" fmla="*/ 3053751 w 6721642"/>
              <a:gd name="connsiteY3" fmla="*/ 5170163 h 5170163"/>
              <a:gd name="connsiteX4" fmla="*/ 2727612 w 6721642"/>
              <a:gd name="connsiteY4" fmla="*/ 2885814 h 5170163"/>
              <a:gd name="connsiteX5" fmla="*/ 1537167 w 6721642"/>
              <a:gd name="connsiteY5" fmla="*/ 2997957 h 5170163"/>
              <a:gd name="connsiteX6" fmla="*/ 500724 w 6721642"/>
              <a:gd name="connsiteY6" fmla="*/ 3002624 h 5170163"/>
              <a:gd name="connsiteX7" fmla="*/ 290862 w 6721642"/>
              <a:gd name="connsiteY7" fmla="*/ 978951 h 5170163"/>
              <a:gd name="connsiteX8" fmla="*/ 0 w 6721642"/>
              <a:gd name="connsiteY8" fmla="*/ 0 h 5170163"/>
              <a:gd name="connsiteX0" fmla="*/ 0 w 6721642"/>
              <a:gd name="connsiteY0" fmla="*/ 0 h 5170163"/>
              <a:gd name="connsiteX1" fmla="*/ 6721642 w 6721642"/>
              <a:gd name="connsiteY1" fmla="*/ 0 h 5170163"/>
              <a:gd name="connsiteX2" fmla="*/ 6721642 w 6721642"/>
              <a:gd name="connsiteY2" fmla="*/ 5161537 h 5170163"/>
              <a:gd name="connsiteX3" fmla="*/ 3053751 w 6721642"/>
              <a:gd name="connsiteY3" fmla="*/ 5170163 h 5170163"/>
              <a:gd name="connsiteX4" fmla="*/ 2727612 w 6721642"/>
              <a:gd name="connsiteY4" fmla="*/ 2885814 h 5170163"/>
              <a:gd name="connsiteX5" fmla="*/ 1537167 w 6721642"/>
              <a:gd name="connsiteY5" fmla="*/ 2997957 h 5170163"/>
              <a:gd name="connsiteX6" fmla="*/ 500724 w 6721642"/>
              <a:gd name="connsiteY6" fmla="*/ 3002624 h 5170163"/>
              <a:gd name="connsiteX7" fmla="*/ 290862 w 6721642"/>
              <a:gd name="connsiteY7" fmla="*/ 978951 h 5170163"/>
              <a:gd name="connsiteX8" fmla="*/ 0 w 6721642"/>
              <a:gd name="connsiteY8" fmla="*/ 0 h 517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1642" h="5170163">
                <a:moveTo>
                  <a:pt x="0" y="0"/>
                </a:moveTo>
                <a:lnTo>
                  <a:pt x="6721642" y="0"/>
                </a:lnTo>
                <a:lnTo>
                  <a:pt x="6721642" y="5161537"/>
                </a:lnTo>
                <a:lnTo>
                  <a:pt x="3053751" y="5170163"/>
                </a:lnTo>
                <a:cubicBezTo>
                  <a:pt x="3485072" y="4224408"/>
                  <a:pt x="3334272" y="3254259"/>
                  <a:pt x="2727612" y="2885814"/>
                </a:cubicBezTo>
                <a:cubicBezTo>
                  <a:pt x="2336826" y="2650301"/>
                  <a:pt x="1882436" y="2797333"/>
                  <a:pt x="1537167" y="2997957"/>
                </a:cubicBezTo>
                <a:cubicBezTo>
                  <a:pt x="1243657" y="3120942"/>
                  <a:pt x="786079" y="3274427"/>
                  <a:pt x="500724" y="3002624"/>
                </a:cubicBezTo>
                <a:cubicBezTo>
                  <a:pt x="-17219" y="2351109"/>
                  <a:pt x="244165" y="1602704"/>
                  <a:pt x="290862" y="978951"/>
                </a:cubicBezTo>
                <a:cubicBezTo>
                  <a:pt x="278853" y="507729"/>
                  <a:pt x="251852" y="366291"/>
                  <a:pt x="0" y="0"/>
                </a:cubicBezTo>
                <a:close/>
              </a:path>
            </a:pathLst>
          </a:custGeom>
          <a:solidFill>
            <a:schemeClr val="bg2"/>
          </a:solidFill>
        </p:spPr>
        <p:txBody>
          <a:bodyPr/>
          <a:lstStyle>
            <a:lvl1pPr marL="0" indent="0" algn="r">
              <a:buFont typeface="Arial" panose="020B0604020202020204" pitchFamily="34" charset="0"/>
              <a:buNone/>
              <a:defRPr sz="2133">
                <a:latin typeface="+mn-lt"/>
              </a:defRPr>
            </a:lvl1pPr>
          </a:lstStyle>
          <a:p>
            <a:r>
              <a:rPr lang="nl-NL" dirty="0"/>
              <a:t>Klik op het pictogram als u een afbeelding wilt toevoegen</a:t>
            </a:r>
            <a:endParaRPr dirty="0"/>
          </a:p>
        </p:txBody>
      </p:sp>
      <p:sp>
        <p:nvSpPr>
          <p:cNvPr id="12" name="Text Placeholder 11">
            <a:extLst>
              <a:ext uri="{FF2B5EF4-FFF2-40B4-BE49-F238E27FC236}">
                <a16:creationId xmlns:a16="http://schemas.microsoft.com/office/drawing/2014/main" id="{E498B112-FA99-664E-8012-0EACC6DD1F65}"/>
              </a:ext>
            </a:extLst>
          </p:cNvPr>
          <p:cNvSpPr>
            <a:spLocks noGrp="1"/>
          </p:cNvSpPr>
          <p:nvPr>
            <p:ph type="body" sz="quarter" idx="10" hasCustomPrompt="1"/>
          </p:nvPr>
        </p:nvSpPr>
        <p:spPr>
          <a:xfrm>
            <a:off x="523197" y="4648201"/>
            <a:ext cx="6340888" cy="1558627"/>
          </a:xfrm>
          <a:prstGeom prst="rect">
            <a:avLst/>
          </a:prstGeom>
        </p:spPr>
        <p:txBody>
          <a:bodyPr/>
          <a:lstStyle>
            <a:lvl1pPr marL="0" indent="0">
              <a:buNone/>
              <a:defRPr sz="3733" b="1">
                <a:solidFill>
                  <a:schemeClr val="bg1"/>
                </a:solidFill>
                <a:latin typeface="Crank 8 Plus Two" panose="02000506030000020004" pitchFamily="50" charset="0"/>
              </a:defRPr>
            </a:lvl1pPr>
          </a:lstStyle>
          <a:p>
            <a:pPr lvl="0"/>
            <a:r>
              <a:rPr lang="nl-BE" dirty="0"/>
              <a:t>Click to add text...</a:t>
            </a:r>
            <a:endParaRPr dirty="0"/>
          </a:p>
        </p:txBody>
      </p:sp>
      <p:grpSp>
        <p:nvGrpSpPr>
          <p:cNvPr id="15" name="Graphic 6">
            <a:extLst>
              <a:ext uri="{FF2B5EF4-FFF2-40B4-BE49-F238E27FC236}">
                <a16:creationId xmlns:a16="http://schemas.microsoft.com/office/drawing/2014/main" id="{3AB541EF-E1D4-4172-9EFB-B200612BDA0E}"/>
              </a:ext>
            </a:extLst>
          </p:cNvPr>
          <p:cNvGrpSpPr>
            <a:grpSpLocks noChangeAspect="1"/>
          </p:cNvGrpSpPr>
          <p:nvPr userDrawn="1"/>
        </p:nvGrpSpPr>
        <p:grpSpPr>
          <a:xfrm>
            <a:off x="650401" y="651172"/>
            <a:ext cx="1603572" cy="475823"/>
            <a:chOff x="1454943" y="1645443"/>
            <a:chExt cx="6227445" cy="1847850"/>
          </a:xfrm>
          <a:solidFill>
            <a:schemeClr val="bg1"/>
          </a:solidFill>
        </p:grpSpPr>
        <p:sp>
          <p:nvSpPr>
            <p:cNvPr id="16" name="Freeform: Shape 15">
              <a:extLst>
                <a:ext uri="{FF2B5EF4-FFF2-40B4-BE49-F238E27FC236}">
                  <a16:creationId xmlns:a16="http://schemas.microsoft.com/office/drawing/2014/main" id="{B63DEDBD-1F7A-4E39-BBD4-286FD3B26CC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E1996E65-1950-4BE8-863F-43B30104AB0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170507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 foto 2">
    <p:bg>
      <p:bgPr>
        <a:solidFill>
          <a:schemeClr val="accent3"/>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9EA6EE4-03CC-4B5B-8991-723D65BEB14A}"/>
              </a:ext>
            </a:extLst>
          </p:cNvPr>
          <p:cNvSpPr>
            <a:spLocks noGrp="1"/>
          </p:cNvSpPr>
          <p:nvPr>
            <p:ph type="pic" sz="quarter" idx="11"/>
          </p:nvPr>
        </p:nvSpPr>
        <p:spPr>
          <a:xfrm>
            <a:off x="4956040" y="0"/>
            <a:ext cx="7235961" cy="6858000"/>
          </a:xfrm>
          <a:custGeom>
            <a:avLst/>
            <a:gdLst>
              <a:gd name="connsiteX0" fmla="*/ 5742620 w 7901940"/>
              <a:gd name="connsiteY0" fmla="*/ 0 h 5143500"/>
              <a:gd name="connsiteX1" fmla="*/ 7901940 w 7901940"/>
              <a:gd name="connsiteY1" fmla="*/ 0 h 5143500"/>
              <a:gd name="connsiteX2" fmla="*/ 7901940 w 7901940"/>
              <a:gd name="connsiteY2" fmla="*/ 5143500 h 5143500"/>
              <a:gd name="connsiteX3" fmla="*/ 5056411 w 7901940"/>
              <a:gd name="connsiteY3" fmla="*/ 5143500 h 5143500"/>
              <a:gd name="connsiteX4" fmla="*/ 5003439 w 7901940"/>
              <a:gd name="connsiteY4" fmla="*/ 5009779 h 5143500"/>
              <a:gd name="connsiteX5" fmla="*/ 3227541 w 7901940"/>
              <a:gd name="connsiteY5" fmla="*/ 2646456 h 5143500"/>
              <a:gd name="connsiteX6" fmla="*/ 2474969 w 7901940"/>
              <a:gd name="connsiteY6" fmla="*/ 105 h 5143500"/>
              <a:gd name="connsiteX7" fmla="*/ 5742620 w 7901940"/>
              <a:gd name="connsiteY7" fmla="*/ 105 h 5143500"/>
              <a:gd name="connsiteX8" fmla="*/ 0 w 7901940"/>
              <a:gd name="connsiteY8" fmla="*/ 0 h 5143500"/>
              <a:gd name="connsiteX9" fmla="*/ 173093 w 7901940"/>
              <a:gd name="connsiteY9" fmla="*/ 0 h 5143500"/>
              <a:gd name="connsiteX10" fmla="*/ 173093 w 7901940"/>
              <a:gd name="connsiteY10" fmla="*/ 104 h 5143500"/>
              <a:gd name="connsiteX11" fmla="*/ 0 w 7901940"/>
              <a:gd name="connsiteY11" fmla="*/ 104 h 5143500"/>
              <a:gd name="connsiteX0" fmla="*/ 5742620 w 7901940"/>
              <a:gd name="connsiteY0" fmla="*/ 0 h 5143500"/>
              <a:gd name="connsiteX1" fmla="*/ 7901940 w 7901940"/>
              <a:gd name="connsiteY1" fmla="*/ 0 h 5143500"/>
              <a:gd name="connsiteX2" fmla="*/ 7901940 w 7901940"/>
              <a:gd name="connsiteY2" fmla="*/ 5143500 h 5143500"/>
              <a:gd name="connsiteX3" fmla="*/ 5056411 w 7901940"/>
              <a:gd name="connsiteY3" fmla="*/ 5143500 h 5143500"/>
              <a:gd name="connsiteX4" fmla="*/ 5003439 w 7901940"/>
              <a:gd name="connsiteY4" fmla="*/ 5009779 h 5143500"/>
              <a:gd name="connsiteX5" fmla="*/ 3227541 w 7901940"/>
              <a:gd name="connsiteY5" fmla="*/ 2646456 h 5143500"/>
              <a:gd name="connsiteX6" fmla="*/ 2474969 w 7901940"/>
              <a:gd name="connsiteY6" fmla="*/ 105 h 5143500"/>
              <a:gd name="connsiteX7" fmla="*/ 5742620 w 7901940"/>
              <a:gd name="connsiteY7" fmla="*/ 105 h 5143500"/>
              <a:gd name="connsiteX8" fmla="*/ 5742620 w 7901940"/>
              <a:gd name="connsiteY8" fmla="*/ 0 h 5143500"/>
              <a:gd name="connsiteX9" fmla="*/ 0 w 7901940"/>
              <a:gd name="connsiteY9" fmla="*/ 0 h 5143500"/>
              <a:gd name="connsiteX10" fmla="*/ 173093 w 7901940"/>
              <a:gd name="connsiteY10" fmla="*/ 0 h 5143500"/>
              <a:gd name="connsiteX11" fmla="*/ 0 w 7901940"/>
              <a:gd name="connsiteY11" fmla="*/ 104 h 5143500"/>
              <a:gd name="connsiteX12" fmla="*/ 0 w 7901940"/>
              <a:gd name="connsiteY12" fmla="*/ 0 h 5143500"/>
              <a:gd name="connsiteX0" fmla="*/ 5742620 w 7901940"/>
              <a:gd name="connsiteY0" fmla="*/ 0 h 5143500"/>
              <a:gd name="connsiteX1" fmla="*/ 7901940 w 7901940"/>
              <a:gd name="connsiteY1" fmla="*/ 0 h 5143500"/>
              <a:gd name="connsiteX2" fmla="*/ 7901940 w 7901940"/>
              <a:gd name="connsiteY2" fmla="*/ 5143500 h 5143500"/>
              <a:gd name="connsiteX3" fmla="*/ 5056411 w 7901940"/>
              <a:gd name="connsiteY3" fmla="*/ 5143500 h 5143500"/>
              <a:gd name="connsiteX4" fmla="*/ 5003439 w 7901940"/>
              <a:gd name="connsiteY4" fmla="*/ 5009779 h 5143500"/>
              <a:gd name="connsiteX5" fmla="*/ 3227541 w 7901940"/>
              <a:gd name="connsiteY5" fmla="*/ 2646456 h 5143500"/>
              <a:gd name="connsiteX6" fmla="*/ 2474969 w 7901940"/>
              <a:gd name="connsiteY6" fmla="*/ 105 h 5143500"/>
              <a:gd name="connsiteX7" fmla="*/ 5742620 w 7901940"/>
              <a:gd name="connsiteY7" fmla="*/ 105 h 5143500"/>
              <a:gd name="connsiteX8" fmla="*/ 5742620 w 7901940"/>
              <a:gd name="connsiteY8" fmla="*/ 0 h 5143500"/>
              <a:gd name="connsiteX9" fmla="*/ 0 w 7901940"/>
              <a:gd name="connsiteY9" fmla="*/ 104 h 5143500"/>
              <a:gd name="connsiteX10" fmla="*/ 173093 w 7901940"/>
              <a:gd name="connsiteY10" fmla="*/ 0 h 5143500"/>
              <a:gd name="connsiteX11" fmla="*/ 0 w 7901940"/>
              <a:gd name="connsiteY11" fmla="*/ 104 h 5143500"/>
              <a:gd name="connsiteX0" fmla="*/ 3267651 w 5426971"/>
              <a:gd name="connsiteY0" fmla="*/ 0 h 5143500"/>
              <a:gd name="connsiteX1" fmla="*/ 5426971 w 5426971"/>
              <a:gd name="connsiteY1" fmla="*/ 0 h 5143500"/>
              <a:gd name="connsiteX2" fmla="*/ 5426971 w 5426971"/>
              <a:gd name="connsiteY2" fmla="*/ 5143500 h 5143500"/>
              <a:gd name="connsiteX3" fmla="*/ 2581442 w 5426971"/>
              <a:gd name="connsiteY3" fmla="*/ 5143500 h 5143500"/>
              <a:gd name="connsiteX4" fmla="*/ 2528470 w 5426971"/>
              <a:gd name="connsiteY4" fmla="*/ 5009779 h 5143500"/>
              <a:gd name="connsiteX5" fmla="*/ 752572 w 5426971"/>
              <a:gd name="connsiteY5" fmla="*/ 2646456 h 5143500"/>
              <a:gd name="connsiteX6" fmla="*/ 0 w 5426971"/>
              <a:gd name="connsiteY6" fmla="*/ 105 h 5143500"/>
              <a:gd name="connsiteX7" fmla="*/ 3267651 w 5426971"/>
              <a:gd name="connsiteY7" fmla="*/ 105 h 5143500"/>
              <a:gd name="connsiteX8" fmla="*/ 3267651 w 5426971"/>
              <a:gd name="connsiteY8" fmla="*/ 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6971" h="5143500">
                <a:moveTo>
                  <a:pt x="3267651" y="0"/>
                </a:moveTo>
                <a:lnTo>
                  <a:pt x="5426971" y="0"/>
                </a:lnTo>
                <a:lnTo>
                  <a:pt x="5426971" y="5143500"/>
                </a:lnTo>
                <a:lnTo>
                  <a:pt x="2581442" y="5143500"/>
                </a:lnTo>
                <a:lnTo>
                  <a:pt x="2528470" y="5009779"/>
                </a:lnTo>
                <a:cubicBezTo>
                  <a:pt x="1918269" y="3504940"/>
                  <a:pt x="1511877" y="3602959"/>
                  <a:pt x="752572" y="2646456"/>
                </a:cubicBezTo>
                <a:cubicBezTo>
                  <a:pt x="3816" y="1697600"/>
                  <a:pt x="26047" y="933058"/>
                  <a:pt x="0" y="105"/>
                </a:cubicBezTo>
                <a:lnTo>
                  <a:pt x="3267651" y="105"/>
                </a:lnTo>
                <a:lnTo>
                  <a:pt x="3267651" y="0"/>
                </a:lnTo>
                <a:close/>
              </a:path>
            </a:pathLst>
          </a:custGeom>
          <a:solidFill>
            <a:schemeClr val="bg2"/>
          </a:solidFill>
        </p:spPr>
        <p:txBody>
          <a:bodyPr wrap="square">
            <a:noAutofit/>
          </a:bodyPr>
          <a:lstStyle>
            <a:lvl1pPr marL="0" indent="0" algn="r">
              <a:buFont typeface="Arial" panose="020B0604020202020204" pitchFamily="34" charset="0"/>
              <a:buNone/>
              <a:defRPr sz="2133">
                <a:latin typeface="+mn-lt"/>
              </a:defRPr>
            </a:lvl1pPr>
          </a:lstStyle>
          <a:p>
            <a:r>
              <a:rPr lang="nl-NL" dirty="0"/>
              <a:t>Klik op het pictogram als u een afbeelding wilt toevoegen</a:t>
            </a:r>
            <a:endParaRPr dirty="0"/>
          </a:p>
        </p:txBody>
      </p:sp>
      <p:sp>
        <p:nvSpPr>
          <p:cNvPr id="12" name="Text Placeholder 11">
            <a:extLst>
              <a:ext uri="{FF2B5EF4-FFF2-40B4-BE49-F238E27FC236}">
                <a16:creationId xmlns:a16="http://schemas.microsoft.com/office/drawing/2014/main" id="{E498B112-FA99-664E-8012-0EACC6DD1F65}"/>
              </a:ext>
            </a:extLst>
          </p:cNvPr>
          <p:cNvSpPr>
            <a:spLocks noGrp="1"/>
          </p:cNvSpPr>
          <p:nvPr>
            <p:ph type="body" sz="quarter" idx="10" hasCustomPrompt="1"/>
          </p:nvPr>
        </p:nvSpPr>
        <p:spPr>
          <a:xfrm>
            <a:off x="523197" y="4648201"/>
            <a:ext cx="6340888" cy="1558620"/>
          </a:xfrm>
          <a:prstGeom prst="rect">
            <a:avLst/>
          </a:prstGeom>
        </p:spPr>
        <p:txBody>
          <a:bodyPr/>
          <a:lstStyle>
            <a:lvl1pPr marL="0" indent="0">
              <a:buNone/>
              <a:defRPr sz="3733" b="1">
                <a:solidFill>
                  <a:schemeClr val="bg1"/>
                </a:solidFill>
                <a:latin typeface="Crank 8 Plus Two" panose="02000506030000020004" pitchFamily="50" charset="0"/>
              </a:defRPr>
            </a:lvl1pPr>
          </a:lstStyle>
          <a:p>
            <a:pPr lvl="0"/>
            <a:r>
              <a:rPr lang="nl-BE" dirty="0"/>
              <a:t>Click to add text...</a:t>
            </a:r>
            <a:endParaRPr dirty="0"/>
          </a:p>
        </p:txBody>
      </p:sp>
      <p:grpSp>
        <p:nvGrpSpPr>
          <p:cNvPr id="15" name="Graphic 6">
            <a:extLst>
              <a:ext uri="{FF2B5EF4-FFF2-40B4-BE49-F238E27FC236}">
                <a16:creationId xmlns:a16="http://schemas.microsoft.com/office/drawing/2014/main" id="{D79D9E19-5F90-4B37-900E-6B966AC6984D}"/>
              </a:ext>
            </a:extLst>
          </p:cNvPr>
          <p:cNvGrpSpPr>
            <a:grpSpLocks noChangeAspect="1"/>
          </p:cNvGrpSpPr>
          <p:nvPr userDrawn="1"/>
        </p:nvGrpSpPr>
        <p:grpSpPr>
          <a:xfrm>
            <a:off x="650401" y="651172"/>
            <a:ext cx="1603572" cy="475823"/>
            <a:chOff x="1454943" y="1645443"/>
            <a:chExt cx="6227445" cy="1847850"/>
          </a:xfrm>
          <a:solidFill>
            <a:schemeClr val="bg1"/>
          </a:solidFill>
        </p:grpSpPr>
        <p:sp>
          <p:nvSpPr>
            <p:cNvPr id="16" name="Freeform: Shape 15">
              <a:extLst>
                <a:ext uri="{FF2B5EF4-FFF2-40B4-BE49-F238E27FC236}">
                  <a16:creationId xmlns:a16="http://schemas.microsoft.com/office/drawing/2014/main" id="{CFAF8BF0-3D44-4917-8DD2-98B8E5CE8B4F}"/>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62C076D7-ACAB-4623-B6C0-C72EE9A41667}"/>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11746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bubbles">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423E92E4-3604-4546-A4CC-53BF16A8B8F6}"/>
              </a:ext>
            </a:extLst>
          </p:cNvPr>
          <p:cNvSpPr>
            <a:spLocks noGrp="1"/>
          </p:cNvSpPr>
          <p:nvPr>
            <p:ph type="pic" sz="quarter" idx="10"/>
          </p:nvPr>
        </p:nvSpPr>
        <p:spPr>
          <a:xfrm>
            <a:off x="4106977" y="2200625"/>
            <a:ext cx="3335553" cy="3408411"/>
          </a:xfrm>
          <a:custGeom>
            <a:avLst/>
            <a:gdLst>
              <a:gd name="connsiteX0" fmla="*/ 0 w 2557560"/>
              <a:gd name="connsiteY0" fmla="*/ 1234866 h 2469732"/>
              <a:gd name="connsiteX1" fmla="*/ 1278780 w 2557560"/>
              <a:gd name="connsiteY1" fmla="*/ 0 h 2469732"/>
              <a:gd name="connsiteX2" fmla="*/ 2557560 w 2557560"/>
              <a:gd name="connsiteY2" fmla="*/ 1234866 h 2469732"/>
              <a:gd name="connsiteX3" fmla="*/ 1278780 w 2557560"/>
              <a:gd name="connsiteY3" fmla="*/ 2469732 h 2469732"/>
              <a:gd name="connsiteX4" fmla="*/ 0 w 2557560"/>
              <a:gd name="connsiteY4" fmla="*/ 1234866 h 2469732"/>
              <a:gd name="connsiteX0" fmla="*/ 0 w 2557560"/>
              <a:gd name="connsiteY0" fmla="*/ 1287118 h 2521984"/>
              <a:gd name="connsiteX1" fmla="*/ 1278780 w 2557560"/>
              <a:gd name="connsiteY1" fmla="*/ 0 h 2521984"/>
              <a:gd name="connsiteX2" fmla="*/ 2557560 w 2557560"/>
              <a:gd name="connsiteY2" fmla="*/ 1287118 h 2521984"/>
              <a:gd name="connsiteX3" fmla="*/ 1278780 w 2557560"/>
              <a:gd name="connsiteY3" fmla="*/ 2521984 h 2521984"/>
              <a:gd name="connsiteX4" fmla="*/ 0 w 2557560"/>
              <a:gd name="connsiteY4" fmla="*/ 1287118 h 2521984"/>
              <a:gd name="connsiteX0" fmla="*/ 214 w 2557774"/>
              <a:gd name="connsiteY0" fmla="*/ 1287118 h 2521984"/>
              <a:gd name="connsiteX1" fmla="*/ 1278994 w 2557774"/>
              <a:gd name="connsiteY1" fmla="*/ 0 h 2521984"/>
              <a:gd name="connsiteX2" fmla="*/ 2557774 w 2557774"/>
              <a:gd name="connsiteY2" fmla="*/ 1287118 h 2521984"/>
              <a:gd name="connsiteX3" fmla="*/ 1278994 w 2557774"/>
              <a:gd name="connsiteY3" fmla="*/ 2521984 h 2521984"/>
              <a:gd name="connsiteX4" fmla="*/ 214 w 2557774"/>
              <a:gd name="connsiteY4" fmla="*/ 1287118 h 2521984"/>
              <a:gd name="connsiteX0" fmla="*/ 0 w 2557560"/>
              <a:gd name="connsiteY0" fmla="*/ 1287118 h 2613424"/>
              <a:gd name="connsiteX1" fmla="*/ 1278780 w 2557560"/>
              <a:gd name="connsiteY1" fmla="*/ 0 h 2613424"/>
              <a:gd name="connsiteX2" fmla="*/ 2557560 w 2557560"/>
              <a:gd name="connsiteY2" fmla="*/ 1287118 h 2613424"/>
              <a:gd name="connsiteX3" fmla="*/ 1278780 w 2557560"/>
              <a:gd name="connsiteY3" fmla="*/ 2613424 h 2613424"/>
              <a:gd name="connsiteX4" fmla="*/ 0 w 2557560"/>
              <a:gd name="connsiteY4" fmla="*/ 1287118 h 2613424"/>
              <a:gd name="connsiteX0" fmla="*/ 0 w 2557560"/>
              <a:gd name="connsiteY0" fmla="*/ 1287118 h 2613424"/>
              <a:gd name="connsiteX1" fmla="*/ 1278780 w 2557560"/>
              <a:gd name="connsiteY1" fmla="*/ 0 h 2613424"/>
              <a:gd name="connsiteX2" fmla="*/ 2557560 w 2557560"/>
              <a:gd name="connsiteY2" fmla="*/ 1287118 h 2613424"/>
              <a:gd name="connsiteX3" fmla="*/ 1278780 w 2557560"/>
              <a:gd name="connsiteY3" fmla="*/ 2613424 h 2613424"/>
              <a:gd name="connsiteX4" fmla="*/ 0 w 2557560"/>
              <a:gd name="connsiteY4" fmla="*/ 1287118 h 2613424"/>
              <a:gd name="connsiteX0" fmla="*/ 0 w 2557560"/>
              <a:gd name="connsiteY0" fmla="*/ 1287118 h 2613424"/>
              <a:gd name="connsiteX1" fmla="*/ 1278780 w 2557560"/>
              <a:gd name="connsiteY1" fmla="*/ 0 h 2613424"/>
              <a:gd name="connsiteX2" fmla="*/ 2557560 w 2557560"/>
              <a:gd name="connsiteY2" fmla="*/ 1287118 h 2613424"/>
              <a:gd name="connsiteX3" fmla="*/ 1278780 w 2557560"/>
              <a:gd name="connsiteY3" fmla="*/ 2613424 h 2613424"/>
              <a:gd name="connsiteX4" fmla="*/ 0 w 2557560"/>
              <a:gd name="connsiteY4" fmla="*/ 1287118 h 2613424"/>
              <a:gd name="connsiteX0" fmla="*/ 0 w 2557560"/>
              <a:gd name="connsiteY0" fmla="*/ 1287118 h 2613615"/>
              <a:gd name="connsiteX1" fmla="*/ 1278780 w 2557560"/>
              <a:gd name="connsiteY1" fmla="*/ 0 h 2613615"/>
              <a:gd name="connsiteX2" fmla="*/ 2557560 w 2557560"/>
              <a:gd name="connsiteY2" fmla="*/ 1287118 h 2613615"/>
              <a:gd name="connsiteX3" fmla="*/ 1278780 w 2557560"/>
              <a:gd name="connsiteY3" fmla="*/ 2613424 h 2613615"/>
              <a:gd name="connsiteX4" fmla="*/ 0 w 2557560"/>
              <a:gd name="connsiteY4" fmla="*/ 1287118 h 2613615"/>
              <a:gd name="connsiteX0" fmla="*/ 0 w 2557560"/>
              <a:gd name="connsiteY0" fmla="*/ 1287118 h 2613424"/>
              <a:gd name="connsiteX1" fmla="*/ 1278780 w 2557560"/>
              <a:gd name="connsiteY1" fmla="*/ 0 h 2613424"/>
              <a:gd name="connsiteX2" fmla="*/ 2557560 w 2557560"/>
              <a:gd name="connsiteY2" fmla="*/ 1287118 h 2613424"/>
              <a:gd name="connsiteX3" fmla="*/ 1278780 w 2557560"/>
              <a:gd name="connsiteY3" fmla="*/ 2613424 h 2613424"/>
              <a:gd name="connsiteX4" fmla="*/ 0 w 2557560"/>
              <a:gd name="connsiteY4" fmla="*/ 1287118 h 2613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7560" h="2613424">
                <a:moveTo>
                  <a:pt x="0" y="1287118"/>
                </a:moveTo>
                <a:cubicBezTo>
                  <a:pt x="0" y="616416"/>
                  <a:pt x="572529" y="0"/>
                  <a:pt x="1278780" y="0"/>
                </a:cubicBezTo>
                <a:cubicBezTo>
                  <a:pt x="1985031" y="0"/>
                  <a:pt x="2453057" y="592058"/>
                  <a:pt x="2557560" y="1287118"/>
                </a:cubicBezTo>
                <a:cubicBezTo>
                  <a:pt x="2557560" y="1969116"/>
                  <a:pt x="2285477" y="2613424"/>
                  <a:pt x="1278780" y="2613424"/>
                </a:cubicBezTo>
                <a:cubicBezTo>
                  <a:pt x="272083" y="2613424"/>
                  <a:pt x="0" y="1957820"/>
                  <a:pt x="0" y="1287118"/>
                </a:cubicBezTo>
                <a:close/>
              </a:path>
            </a:pathLst>
          </a:custGeom>
          <a:solidFill>
            <a:schemeClr val="bg2"/>
          </a:solidFill>
        </p:spPr>
        <p:txBody>
          <a:bodyPr anchor="ctr"/>
          <a:lstStyle>
            <a:lvl1pPr marL="0" indent="0" algn="ctr">
              <a:buNone/>
              <a:defRPr sz="1600">
                <a:solidFill>
                  <a:schemeClr val="tx2"/>
                </a:solidFill>
                <a:latin typeface="+mn-lt"/>
                <a:ea typeface="Roboto" panose="02000000000000000000" pitchFamily="2" charset="0"/>
              </a:defRPr>
            </a:lvl1pPr>
          </a:lstStyle>
          <a:p>
            <a:r>
              <a:rPr lang="nl-NL" dirty="0"/>
              <a:t>Klik op het pictogram als u een afbeelding wilt toevoegen</a:t>
            </a:r>
            <a:endParaRPr dirty="0"/>
          </a:p>
        </p:txBody>
      </p:sp>
      <p:sp>
        <p:nvSpPr>
          <p:cNvPr id="16" name="AutoShape 26">
            <a:extLst>
              <a:ext uri="{FF2B5EF4-FFF2-40B4-BE49-F238E27FC236}">
                <a16:creationId xmlns:a16="http://schemas.microsoft.com/office/drawing/2014/main" id="{03A31357-6DAF-B649-BE2A-7139616BD5AC}"/>
              </a:ext>
            </a:extLst>
          </p:cNvPr>
          <p:cNvSpPr>
            <a:spLocks/>
          </p:cNvSpPr>
          <p:nvPr userDrawn="1"/>
        </p:nvSpPr>
        <p:spPr bwMode="auto">
          <a:xfrm>
            <a:off x="7955396" y="5140203"/>
            <a:ext cx="615069" cy="58150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7764 w 19679"/>
              <a:gd name="connsiteY0" fmla="*/ 2345 h 18605"/>
              <a:gd name="connsiteX1" fmla="*/ 16339 w 19679"/>
              <a:gd name="connsiteY1" fmla="*/ 16260 h 18605"/>
              <a:gd name="connsiteX2" fmla="*/ 2424 w 19679"/>
              <a:gd name="connsiteY2" fmla="*/ 16260 h 18605"/>
              <a:gd name="connsiteX3" fmla="*/ 2424 w 19679"/>
              <a:gd name="connsiteY3" fmla="*/ 2345 h 18605"/>
              <a:gd name="connsiteX4" fmla="*/ 17764 w 19679"/>
              <a:gd name="connsiteY4" fmla="*/ 2345 h 18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9" h="18605">
                <a:moveTo>
                  <a:pt x="17764" y="2345"/>
                </a:moveTo>
                <a:cubicBezTo>
                  <a:pt x="21607" y="6188"/>
                  <a:pt x="18896" y="13941"/>
                  <a:pt x="16339" y="16260"/>
                </a:cubicBezTo>
                <a:cubicBezTo>
                  <a:pt x="13782" y="18579"/>
                  <a:pt x="6267" y="20103"/>
                  <a:pt x="2424" y="16260"/>
                </a:cubicBezTo>
                <a:cubicBezTo>
                  <a:pt x="-1418" y="12417"/>
                  <a:pt x="-133" y="4664"/>
                  <a:pt x="2424" y="2345"/>
                </a:cubicBezTo>
                <a:cubicBezTo>
                  <a:pt x="4981" y="26"/>
                  <a:pt x="13921" y="-1497"/>
                  <a:pt x="17764" y="2345"/>
                </a:cubicBezTo>
                <a:close/>
              </a:path>
            </a:pathLst>
          </a:custGeom>
          <a:solidFill>
            <a:schemeClr val="accent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2133" dirty="0">
              <a:solidFill>
                <a:srgbClr val="B7EDE6"/>
              </a:solidFill>
              <a:latin typeface="+mn-lt"/>
              <a:cs typeface="Roboto" panose="02000000000000000000" pitchFamily="2" charset="0"/>
              <a:sym typeface="Helvetica Light" charset="0"/>
            </a:endParaRPr>
          </a:p>
        </p:txBody>
      </p:sp>
      <p:sp>
        <p:nvSpPr>
          <p:cNvPr id="30" name="Text Placeholder 29">
            <a:extLst>
              <a:ext uri="{FF2B5EF4-FFF2-40B4-BE49-F238E27FC236}">
                <a16:creationId xmlns:a16="http://schemas.microsoft.com/office/drawing/2014/main" id="{1AE0418A-1984-124C-87C4-55A5607D733D}"/>
              </a:ext>
            </a:extLst>
          </p:cNvPr>
          <p:cNvSpPr>
            <a:spLocks noGrp="1"/>
          </p:cNvSpPr>
          <p:nvPr>
            <p:ph type="body" sz="quarter" idx="11" hasCustomPrompt="1"/>
          </p:nvPr>
        </p:nvSpPr>
        <p:spPr>
          <a:xfrm>
            <a:off x="4016653" y="1496325"/>
            <a:ext cx="1468716" cy="815001"/>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sp>
        <p:nvSpPr>
          <p:cNvPr id="31" name="Text Placeholder 29">
            <a:extLst>
              <a:ext uri="{FF2B5EF4-FFF2-40B4-BE49-F238E27FC236}">
                <a16:creationId xmlns:a16="http://schemas.microsoft.com/office/drawing/2014/main" id="{45E9B19B-04D9-CE4B-8848-9F2F4DD4AE81}"/>
              </a:ext>
            </a:extLst>
          </p:cNvPr>
          <p:cNvSpPr>
            <a:spLocks noGrp="1"/>
          </p:cNvSpPr>
          <p:nvPr>
            <p:ph type="body" sz="quarter" idx="12" hasCustomPrompt="1"/>
          </p:nvPr>
        </p:nvSpPr>
        <p:spPr>
          <a:xfrm>
            <a:off x="6514748" y="1822586"/>
            <a:ext cx="1459600" cy="717703"/>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sp>
        <p:nvSpPr>
          <p:cNvPr id="32" name="Text Placeholder 29">
            <a:extLst>
              <a:ext uri="{FF2B5EF4-FFF2-40B4-BE49-F238E27FC236}">
                <a16:creationId xmlns:a16="http://schemas.microsoft.com/office/drawing/2014/main" id="{E828C2C6-D995-7F47-B3AA-E85D63F5ED94}"/>
              </a:ext>
            </a:extLst>
          </p:cNvPr>
          <p:cNvSpPr>
            <a:spLocks noGrp="1"/>
          </p:cNvSpPr>
          <p:nvPr>
            <p:ph type="body" sz="quarter" idx="13" hasCustomPrompt="1"/>
          </p:nvPr>
        </p:nvSpPr>
        <p:spPr>
          <a:xfrm>
            <a:off x="1795523" y="3049583"/>
            <a:ext cx="1359423" cy="648592"/>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sp>
        <p:nvSpPr>
          <p:cNvPr id="33" name="Text Placeholder 29">
            <a:extLst>
              <a:ext uri="{FF2B5EF4-FFF2-40B4-BE49-F238E27FC236}">
                <a16:creationId xmlns:a16="http://schemas.microsoft.com/office/drawing/2014/main" id="{D6DE9A24-EA39-374F-A360-D581EC84D089}"/>
              </a:ext>
            </a:extLst>
          </p:cNvPr>
          <p:cNvSpPr>
            <a:spLocks noGrp="1"/>
          </p:cNvSpPr>
          <p:nvPr>
            <p:ph type="body" sz="quarter" idx="14" hasCustomPrompt="1"/>
          </p:nvPr>
        </p:nvSpPr>
        <p:spPr>
          <a:xfrm>
            <a:off x="2929267" y="5140204"/>
            <a:ext cx="1823868" cy="855797"/>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sp>
        <p:nvSpPr>
          <p:cNvPr id="34" name="Text Placeholder 29">
            <a:extLst>
              <a:ext uri="{FF2B5EF4-FFF2-40B4-BE49-F238E27FC236}">
                <a16:creationId xmlns:a16="http://schemas.microsoft.com/office/drawing/2014/main" id="{6811F9CF-C83F-AE43-91FE-A67007468EDB}"/>
              </a:ext>
            </a:extLst>
          </p:cNvPr>
          <p:cNvSpPr>
            <a:spLocks noGrp="1"/>
          </p:cNvSpPr>
          <p:nvPr>
            <p:ph type="body" sz="quarter" idx="15" hasCustomPrompt="1"/>
          </p:nvPr>
        </p:nvSpPr>
        <p:spPr>
          <a:xfrm>
            <a:off x="7741205" y="3536813"/>
            <a:ext cx="1658521" cy="717703"/>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sp>
        <p:nvSpPr>
          <p:cNvPr id="35" name="Text Placeholder 29">
            <a:extLst>
              <a:ext uri="{FF2B5EF4-FFF2-40B4-BE49-F238E27FC236}">
                <a16:creationId xmlns:a16="http://schemas.microsoft.com/office/drawing/2014/main" id="{D130FBDE-036F-3A4D-A146-F5ABC89A8851}"/>
              </a:ext>
            </a:extLst>
          </p:cNvPr>
          <p:cNvSpPr>
            <a:spLocks noGrp="1"/>
          </p:cNvSpPr>
          <p:nvPr>
            <p:ph type="body" sz="quarter" idx="16" hasCustomPrompt="1"/>
          </p:nvPr>
        </p:nvSpPr>
        <p:spPr>
          <a:xfrm>
            <a:off x="9609709" y="4622529"/>
            <a:ext cx="1359423" cy="648592"/>
          </a:xfrm>
          <a:prstGeom prst="rect">
            <a:avLst/>
          </a:prstGeom>
        </p:spPr>
        <p:txBody>
          <a:bodyPr anchor="ctr"/>
          <a:lstStyle>
            <a:lvl1pPr marL="0" indent="0" algn="ctr">
              <a:buNone/>
              <a:defRPr sz="1600" b="0">
                <a:solidFill>
                  <a:schemeClr val="bg1"/>
                </a:solidFill>
                <a:latin typeface="+mn-lt"/>
                <a:ea typeface="Roboto" panose="02000000000000000000" pitchFamily="2" charset="0"/>
              </a:defRPr>
            </a:lvl1pPr>
            <a:lvl2pPr>
              <a:defRPr sz="1067"/>
            </a:lvl2pPr>
            <a:lvl3pPr>
              <a:defRPr sz="1067"/>
            </a:lvl3pPr>
            <a:lvl4pPr>
              <a:defRPr sz="1067"/>
            </a:lvl4pPr>
            <a:lvl5pPr>
              <a:defRPr sz="1067"/>
            </a:lvl5pPr>
          </a:lstStyle>
          <a:p>
            <a:pPr lvl="0"/>
            <a:r>
              <a:rPr lang="nl-BE" dirty="0"/>
              <a:t>Text</a:t>
            </a:r>
            <a:endParaRPr dirty="0"/>
          </a:p>
        </p:txBody>
      </p:sp>
      <p:grpSp>
        <p:nvGrpSpPr>
          <p:cNvPr id="40" name="Graphic 6">
            <a:extLst>
              <a:ext uri="{FF2B5EF4-FFF2-40B4-BE49-F238E27FC236}">
                <a16:creationId xmlns:a16="http://schemas.microsoft.com/office/drawing/2014/main" id="{65D3237A-6D52-44F7-8114-EE7F75712F39}"/>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41" name="Freeform: Shape 40">
              <a:extLst>
                <a:ext uri="{FF2B5EF4-FFF2-40B4-BE49-F238E27FC236}">
                  <a16:creationId xmlns:a16="http://schemas.microsoft.com/office/drawing/2014/main" id="{149998DD-B5A6-4C70-A0C2-26C77D27885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42" name="Freeform: Shape 41">
              <a:extLst>
                <a:ext uri="{FF2B5EF4-FFF2-40B4-BE49-F238E27FC236}">
                  <a16:creationId xmlns:a16="http://schemas.microsoft.com/office/drawing/2014/main" id="{098AC943-3661-4CF4-AF8A-1A442800E82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8" name="Title 10">
            <a:extLst>
              <a:ext uri="{FF2B5EF4-FFF2-40B4-BE49-F238E27FC236}">
                <a16:creationId xmlns:a16="http://schemas.microsoft.com/office/drawing/2014/main" id="{9309F440-BDE2-43A8-975B-F2694CEE80C4}"/>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Custom bubbles</a:t>
            </a:r>
          </a:p>
        </p:txBody>
      </p:sp>
    </p:spTree>
    <p:extLst>
      <p:ext uri="{BB962C8B-B14F-4D97-AF65-F5344CB8AC3E}">
        <p14:creationId xmlns:p14="http://schemas.microsoft.com/office/powerpoint/2010/main" val="85858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Cover slide">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A19BA5C-52CA-4792-BEAF-328B64BBB8D0}"/>
              </a:ext>
            </a:extLst>
          </p:cNvPr>
          <p:cNvSpPr>
            <a:spLocks noGrp="1"/>
          </p:cNvSpPr>
          <p:nvPr>
            <p:ph type="pic" sz="quarter" idx="10"/>
          </p:nvPr>
        </p:nvSpPr>
        <p:spPr>
          <a:xfrm>
            <a:off x="-1019" y="1"/>
            <a:ext cx="12193020" cy="6880528"/>
          </a:xfrm>
          <a:custGeom>
            <a:avLst/>
            <a:gdLst>
              <a:gd name="connsiteX0" fmla="*/ 0 w 9144765"/>
              <a:gd name="connsiteY0" fmla="*/ 0 h 5160396"/>
              <a:gd name="connsiteX1" fmla="*/ 766 w 9144765"/>
              <a:gd name="connsiteY1" fmla="*/ 0 h 5160396"/>
              <a:gd name="connsiteX2" fmla="*/ 766 w 9144765"/>
              <a:gd name="connsiteY2" fmla="*/ 2938753 h 5160396"/>
              <a:gd name="connsiteX3" fmla="*/ 131735 w 9144765"/>
              <a:gd name="connsiteY3" fmla="*/ 2820987 h 5160396"/>
              <a:gd name="connsiteX4" fmla="*/ 400816 w 9144765"/>
              <a:gd name="connsiteY4" fmla="*/ 2559049 h 5160396"/>
              <a:gd name="connsiteX5" fmla="*/ 699266 w 9144765"/>
              <a:gd name="connsiteY5" fmla="*/ 2184399 h 5160396"/>
              <a:gd name="connsiteX6" fmla="*/ 940566 w 9144765"/>
              <a:gd name="connsiteY6" fmla="*/ 1708149 h 5160396"/>
              <a:gd name="connsiteX7" fmla="*/ 1054866 w 9144765"/>
              <a:gd name="connsiteY7" fmla="*/ 1352549 h 5160396"/>
              <a:gd name="connsiteX8" fmla="*/ 1175516 w 9144765"/>
              <a:gd name="connsiteY8" fmla="*/ 990599 h 5160396"/>
              <a:gd name="connsiteX9" fmla="*/ 1397766 w 9144765"/>
              <a:gd name="connsiteY9" fmla="*/ 634999 h 5160396"/>
              <a:gd name="connsiteX10" fmla="*/ 1632716 w 9144765"/>
              <a:gd name="connsiteY10" fmla="*/ 355599 h 5160396"/>
              <a:gd name="connsiteX11" fmla="*/ 1924817 w 9144765"/>
              <a:gd name="connsiteY11" fmla="*/ 31749 h 5160396"/>
              <a:gd name="connsiteX12" fmla="*/ 1944722 w 9144765"/>
              <a:gd name="connsiteY12" fmla="*/ 10349 h 5160396"/>
              <a:gd name="connsiteX13" fmla="*/ 1953798 w 9144765"/>
              <a:gd name="connsiteY13" fmla="*/ 0 h 5160396"/>
              <a:gd name="connsiteX14" fmla="*/ 9144765 w 9144765"/>
              <a:gd name="connsiteY14" fmla="*/ 0 h 5160396"/>
              <a:gd name="connsiteX15" fmla="*/ 9144765 w 9144765"/>
              <a:gd name="connsiteY15" fmla="*/ 1454580 h 5160396"/>
              <a:gd name="connsiteX16" fmla="*/ 9121511 w 9144765"/>
              <a:gd name="connsiteY16" fmla="*/ 1443539 h 5160396"/>
              <a:gd name="connsiteX17" fmla="*/ 8878066 w 9144765"/>
              <a:gd name="connsiteY17" fmla="*/ 1346199 h 5160396"/>
              <a:gd name="connsiteX18" fmla="*/ 8486946 w 9144765"/>
              <a:gd name="connsiteY18" fmla="*/ 1285924 h 5160396"/>
              <a:gd name="connsiteX19" fmla="*/ 8338316 w 9144765"/>
              <a:gd name="connsiteY19" fmla="*/ 1295399 h 5160396"/>
              <a:gd name="connsiteX20" fmla="*/ 7563616 w 9144765"/>
              <a:gd name="connsiteY20" fmla="*/ 1466849 h 5160396"/>
              <a:gd name="connsiteX21" fmla="*/ 6858766 w 9144765"/>
              <a:gd name="connsiteY21" fmla="*/ 1847849 h 5160396"/>
              <a:gd name="connsiteX22" fmla="*/ 5772916 w 9144765"/>
              <a:gd name="connsiteY22" fmla="*/ 2774949 h 5160396"/>
              <a:gd name="connsiteX23" fmla="*/ 4585466 w 9144765"/>
              <a:gd name="connsiteY23" fmla="*/ 4006849 h 5160396"/>
              <a:gd name="connsiteX24" fmla="*/ 3658366 w 9144765"/>
              <a:gd name="connsiteY24" fmla="*/ 4540249 h 5160396"/>
              <a:gd name="connsiteX25" fmla="*/ 2959867 w 9144765"/>
              <a:gd name="connsiteY25" fmla="*/ 4705349 h 5160396"/>
              <a:gd name="connsiteX26" fmla="*/ 2210567 w 9144765"/>
              <a:gd name="connsiteY26" fmla="*/ 4756149 h 5160396"/>
              <a:gd name="connsiteX27" fmla="*/ 1683516 w 9144765"/>
              <a:gd name="connsiteY27" fmla="*/ 4883149 h 5160396"/>
              <a:gd name="connsiteX28" fmla="*/ 1372367 w 9144765"/>
              <a:gd name="connsiteY28" fmla="*/ 5041899 h 5160396"/>
              <a:gd name="connsiteX29" fmla="*/ 1266996 w 9144765"/>
              <a:gd name="connsiteY29" fmla="*/ 5113486 h 5160396"/>
              <a:gd name="connsiteX30" fmla="*/ 1238412 w 9144765"/>
              <a:gd name="connsiteY30" fmla="*/ 5143499 h 5160396"/>
              <a:gd name="connsiteX31" fmla="*/ 9144765 w 9144765"/>
              <a:gd name="connsiteY31" fmla="*/ 5143499 h 5160396"/>
              <a:gd name="connsiteX32" fmla="*/ 9144765 w 9144765"/>
              <a:gd name="connsiteY32" fmla="*/ 5160396 h 5160396"/>
              <a:gd name="connsiteX33" fmla="*/ 0 w 9144765"/>
              <a:gd name="connsiteY33" fmla="*/ 5160396 h 5160396"/>
              <a:gd name="connsiteX0" fmla="*/ 0 w 9144765"/>
              <a:gd name="connsiteY0" fmla="*/ 5160396 h 5160396"/>
              <a:gd name="connsiteX1" fmla="*/ 766 w 9144765"/>
              <a:gd name="connsiteY1" fmla="*/ 0 h 5160396"/>
              <a:gd name="connsiteX2" fmla="*/ 766 w 9144765"/>
              <a:gd name="connsiteY2" fmla="*/ 2938753 h 5160396"/>
              <a:gd name="connsiteX3" fmla="*/ 131735 w 9144765"/>
              <a:gd name="connsiteY3" fmla="*/ 2820987 h 5160396"/>
              <a:gd name="connsiteX4" fmla="*/ 400816 w 9144765"/>
              <a:gd name="connsiteY4" fmla="*/ 2559049 h 5160396"/>
              <a:gd name="connsiteX5" fmla="*/ 699266 w 9144765"/>
              <a:gd name="connsiteY5" fmla="*/ 2184399 h 5160396"/>
              <a:gd name="connsiteX6" fmla="*/ 940566 w 9144765"/>
              <a:gd name="connsiteY6" fmla="*/ 1708149 h 5160396"/>
              <a:gd name="connsiteX7" fmla="*/ 1054866 w 9144765"/>
              <a:gd name="connsiteY7" fmla="*/ 1352549 h 5160396"/>
              <a:gd name="connsiteX8" fmla="*/ 1175516 w 9144765"/>
              <a:gd name="connsiteY8" fmla="*/ 990599 h 5160396"/>
              <a:gd name="connsiteX9" fmla="*/ 1397766 w 9144765"/>
              <a:gd name="connsiteY9" fmla="*/ 634999 h 5160396"/>
              <a:gd name="connsiteX10" fmla="*/ 1632716 w 9144765"/>
              <a:gd name="connsiteY10" fmla="*/ 355599 h 5160396"/>
              <a:gd name="connsiteX11" fmla="*/ 1924817 w 9144765"/>
              <a:gd name="connsiteY11" fmla="*/ 31749 h 5160396"/>
              <a:gd name="connsiteX12" fmla="*/ 1944722 w 9144765"/>
              <a:gd name="connsiteY12" fmla="*/ 10349 h 5160396"/>
              <a:gd name="connsiteX13" fmla="*/ 1953798 w 9144765"/>
              <a:gd name="connsiteY13" fmla="*/ 0 h 5160396"/>
              <a:gd name="connsiteX14" fmla="*/ 9144765 w 9144765"/>
              <a:gd name="connsiteY14" fmla="*/ 0 h 5160396"/>
              <a:gd name="connsiteX15" fmla="*/ 9144765 w 9144765"/>
              <a:gd name="connsiteY15" fmla="*/ 1454580 h 5160396"/>
              <a:gd name="connsiteX16" fmla="*/ 9121511 w 9144765"/>
              <a:gd name="connsiteY16" fmla="*/ 1443539 h 5160396"/>
              <a:gd name="connsiteX17" fmla="*/ 8878066 w 9144765"/>
              <a:gd name="connsiteY17" fmla="*/ 1346199 h 5160396"/>
              <a:gd name="connsiteX18" fmla="*/ 8486946 w 9144765"/>
              <a:gd name="connsiteY18" fmla="*/ 1285924 h 5160396"/>
              <a:gd name="connsiteX19" fmla="*/ 8338316 w 9144765"/>
              <a:gd name="connsiteY19" fmla="*/ 1295399 h 5160396"/>
              <a:gd name="connsiteX20" fmla="*/ 7563616 w 9144765"/>
              <a:gd name="connsiteY20" fmla="*/ 1466849 h 5160396"/>
              <a:gd name="connsiteX21" fmla="*/ 6858766 w 9144765"/>
              <a:gd name="connsiteY21" fmla="*/ 1847849 h 5160396"/>
              <a:gd name="connsiteX22" fmla="*/ 5772916 w 9144765"/>
              <a:gd name="connsiteY22" fmla="*/ 2774949 h 5160396"/>
              <a:gd name="connsiteX23" fmla="*/ 4585466 w 9144765"/>
              <a:gd name="connsiteY23" fmla="*/ 4006849 h 5160396"/>
              <a:gd name="connsiteX24" fmla="*/ 3658366 w 9144765"/>
              <a:gd name="connsiteY24" fmla="*/ 4540249 h 5160396"/>
              <a:gd name="connsiteX25" fmla="*/ 2959867 w 9144765"/>
              <a:gd name="connsiteY25" fmla="*/ 4705349 h 5160396"/>
              <a:gd name="connsiteX26" fmla="*/ 2210567 w 9144765"/>
              <a:gd name="connsiteY26" fmla="*/ 4756149 h 5160396"/>
              <a:gd name="connsiteX27" fmla="*/ 1683516 w 9144765"/>
              <a:gd name="connsiteY27" fmla="*/ 4883149 h 5160396"/>
              <a:gd name="connsiteX28" fmla="*/ 1372367 w 9144765"/>
              <a:gd name="connsiteY28" fmla="*/ 5041899 h 5160396"/>
              <a:gd name="connsiteX29" fmla="*/ 1266996 w 9144765"/>
              <a:gd name="connsiteY29" fmla="*/ 5113486 h 5160396"/>
              <a:gd name="connsiteX30" fmla="*/ 1238412 w 9144765"/>
              <a:gd name="connsiteY30" fmla="*/ 5143499 h 5160396"/>
              <a:gd name="connsiteX31" fmla="*/ 9144765 w 9144765"/>
              <a:gd name="connsiteY31" fmla="*/ 5143499 h 5160396"/>
              <a:gd name="connsiteX32" fmla="*/ 9144765 w 9144765"/>
              <a:gd name="connsiteY32" fmla="*/ 5160396 h 5160396"/>
              <a:gd name="connsiteX33" fmla="*/ 0 w 9144765"/>
              <a:gd name="connsiteY33" fmla="*/ 5160396 h 5160396"/>
              <a:gd name="connsiteX0" fmla="*/ 682037 w 9826802"/>
              <a:gd name="connsiteY0" fmla="*/ 5160396 h 5160396"/>
              <a:gd name="connsiteX1" fmla="*/ 682803 w 9826802"/>
              <a:gd name="connsiteY1" fmla="*/ 2938753 h 5160396"/>
              <a:gd name="connsiteX2" fmla="*/ 813772 w 9826802"/>
              <a:gd name="connsiteY2" fmla="*/ 2820987 h 5160396"/>
              <a:gd name="connsiteX3" fmla="*/ 1082853 w 9826802"/>
              <a:gd name="connsiteY3" fmla="*/ 2559049 h 5160396"/>
              <a:gd name="connsiteX4" fmla="*/ 1381303 w 9826802"/>
              <a:gd name="connsiteY4" fmla="*/ 2184399 h 5160396"/>
              <a:gd name="connsiteX5" fmla="*/ 1622603 w 9826802"/>
              <a:gd name="connsiteY5" fmla="*/ 1708149 h 5160396"/>
              <a:gd name="connsiteX6" fmla="*/ 1736903 w 9826802"/>
              <a:gd name="connsiteY6" fmla="*/ 1352549 h 5160396"/>
              <a:gd name="connsiteX7" fmla="*/ 1857553 w 9826802"/>
              <a:gd name="connsiteY7" fmla="*/ 990599 h 5160396"/>
              <a:gd name="connsiteX8" fmla="*/ 2079803 w 9826802"/>
              <a:gd name="connsiteY8" fmla="*/ 634999 h 5160396"/>
              <a:gd name="connsiteX9" fmla="*/ 2314753 w 9826802"/>
              <a:gd name="connsiteY9" fmla="*/ 355599 h 5160396"/>
              <a:gd name="connsiteX10" fmla="*/ 2606854 w 9826802"/>
              <a:gd name="connsiteY10" fmla="*/ 31749 h 5160396"/>
              <a:gd name="connsiteX11" fmla="*/ 2626759 w 9826802"/>
              <a:gd name="connsiteY11" fmla="*/ 10349 h 5160396"/>
              <a:gd name="connsiteX12" fmla="*/ 2635835 w 9826802"/>
              <a:gd name="connsiteY12" fmla="*/ 0 h 5160396"/>
              <a:gd name="connsiteX13" fmla="*/ 9826802 w 9826802"/>
              <a:gd name="connsiteY13" fmla="*/ 0 h 5160396"/>
              <a:gd name="connsiteX14" fmla="*/ 9826802 w 9826802"/>
              <a:gd name="connsiteY14" fmla="*/ 1454580 h 5160396"/>
              <a:gd name="connsiteX15" fmla="*/ 9803548 w 9826802"/>
              <a:gd name="connsiteY15" fmla="*/ 1443539 h 5160396"/>
              <a:gd name="connsiteX16" fmla="*/ 9560103 w 9826802"/>
              <a:gd name="connsiteY16" fmla="*/ 1346199 h 5160396"/>
              <a:gd name="connsiteX17" fmla="*/ 9168983 w 9826802"/>
              <a:gd name="connsiteY17" fmla="*/ 1285924 h 5160396"/>
              <a:gd name="connsiteX18" fmla="*/ 9020353 w 9826802"/>
              <a:gd name="connsiteY18" fmla="*/ 1295399 h 5160396"/>
              <a:gd name="connsiteX19" fmla="*/ 8245653 w 9826802"/>
              <a:gd name="connsiteY19" fmla="*/ 1466849 h 5160396"/>
              <a:gd name="connsiteX20" fmla="*/ 7540803 w 9826802"/>
              <a:gd name="connsiteY20" fmla="*/ 1847849 h 5160396"/>
              <a:gd name="connsiteX21" fmla="*/ 6454953 w 9826802"/>
              <a:gd name="connsiteY21" fmla="*/ 2774949 h 5160396"/>
              <a:gd name="connsiteX22" fmla="*/ 5267503 w 9826802"/>
              <a:gd name="connsiteY22" fmla="*/ 4006849 h 5160396"/>
              <a:gd name="connsiteX23" fmla="*/ 4340403 w 9826802"/>
              <a:gd name="connsiteY23" fmla="*/ 4540249 h 5160396"/>
              <a:gd name="connsiteX24" fmla="*/ 3641904 w 9826802"/>
              <a:gd name="connsiteY24" fmla="*/ 4705349 h 5160396"/>
              <a:gd name="connsiteX25" fmla="*/ 2892604 w 9826802"/>
              <a:gd name="connsiteY25" fmla="*/ 4756149 h 5160396"/>
              <a:gd name="connsiteX26" fmla="*/ 2365553 w 9826802"/>
              <a:gd name="connsiteY26" fmla="*/ 4883149 h 5160396"/>
              <a:gd name="connsiteX27" fmla="*/ 2054404 w 9826802"/>
              <a:gd name="connsiteY27" fmla="*/ 5041899 h 5160396"/>
              <a:gd name="connsiteX28" fmla="*/ 1949033 w 9826802"/>
              <a:gd name="connsiteY28" fmla="*/ 5113486 h 5160396"/>
              <a:gd name="connsiteX29" fmla="*/ 1920449 w 9826802"/>
              <a:gd name="connsiteY29" fmla="*/ 5143499 h 5160396"/>
              <a:gd name="connsiteX30" fmla="*/ 9826802 w 9826802"/>
              <a:gd name="connsiteY30" fmla="*/ 5143499 h 5160396"/>
              <a:gd name="connsiteX31" fmla="*/ 9826802 w 9826802"/>
              <a:gd name="connsiteY31" fmla="*/ 5160396 h 5160396"/>
              <a:gd name="connsiteX32" fmla="*/ 682037 w 9826802"/>
              <a:gd name="connsiteY32" fmla="*/ 5160396 h 5160396"/>
              <a:gd name="connsiteX0" fmla="*/ 0 w 9144765"/>
              <a:gd name="connsiteY0" fmla="*/ 5160396 h 5160396"/>
              <a:gd name="connsiteX1" fmla="*/ 766 w 9144765"/>
              <a:gd name="connsiteY1" fmla="*/ 2938753 h 5160396"/>
              <a:gd name="connsiteX2" fmla="*/ 131735 w 9144765"/>
              <a:gd name="connsiteY2" fmla="*/ 2820987 h 5160396"/>
              <a:gd name="connsiteX3" fmla="*/ 400816 w 9144765"/>
              <a:gd name="connsiteY3" fmla="*/ 2559049 h 5160396"/>
              <a:gd name="connsiteX4" fmla="*/ 699266 w 9144765"/>
              <a:gd name="connsiteY4" fmla="*/ 2184399 h 5160396"/>
              <a:gd name="connsiteX5" fmla="*/ 940566 w 9144765"/>
              <a:gd name="connsiteY5" fmla="*/ 1708149 h 5160396"/>
              <a:gd name="connsiteX6" fmla="*/ 1054866 w 9144765"/>
              <a:gd name="connsiteY6" fmla="*/ 1352549 h 5160396"/>
              <a:gd name="connsiteX7" fmla="*/ 1175516 w 9144765"/>
              <a:gd name="connsiteY7" fmla="*/ 990599 h 5160396"/>
              <a:gd name="connsiteX8" fmla="*/ 1397766 w 9144765"/>
              <a:gd name="connsiteY8" fmla="*/ 634999 h 5160396"/>
              <a:gd name="connsiteX9" fmla="*/ 1632716 w 9144765"/>
              <a:gd name="connsiteY9" fmla="*/ 355599 h 5160396"/>
              <a:gd name="connsiteX10" fmla="*/ 1924817 w 9144765"/>
              <a:gd name="connsiteY10" fmla="*/ 31749 h 5160396"/>
              <a:gd name="connsiteX11" fmla="*/ 1944722 w 9144765"/>
              <a:gd name="connsiteY11" fmla="*/ 10349 h 5160396"/>
              <a:gd name="connsiteX12" fmla="*/ 1953798 w 9144765"/>
              <a:gd name="connsiteY12" fmla="*/ 0 h 5160396"/>
              <a:gd name="connsiteX13" fmla="*/ 9144765 w 9144765"/>
              <a:gd name="connsiteY13" fmla="*/ 0 h 5160396"/>
              <a:gd name="connsiteX14" fmla="*/ 9144765 w 9144765"/>
              <a:gd name="connsiteY14" fmla="*/ 1454580 h 5160396"/>
              <a:gd name="connsiteX15" fmla="*/ 9121511 w 9144765"/>
              <a:gd name="connsiteY15" fmla="*/ 1443539 h 5160396"/>
              <a:gd name="connsiteX16" fmla="*/ 8878066 w 9144765"/>
              <a:gd name="connsiteY16" fmla="*/ 1346199 h 5160396"/>
              <a:gd name="connsiteX17" fmla="*/ 8486946 w 9144765"/>
              <a:gd name="connsiteY17" fmla="*/ 1285924 h 5160396"/>
              <a:gd name="connsiteX18" fmla="*/ 8338316 w 9144765"/>
              <a:gd name="connsiteY18" fmla="*/ 1295399 h 5160396"/>
              <a:gd name="connsiteX19" fmla="*/ 7563616 w 9144765"/>
              <a:gd name="connsiteY19" fmla="*/ 1466849 h 5160396"/>
              <a:gd name="connsiteX20" fmla="*/ 6858766 w 9144765"/>
              <a:gd name="connsiteY20" fmla="*/ 1847849 h 5160396"/>
              <a:gd name="connsiteX21" fmla="*/ 5772916 w 9144765"/>
              <a:gd name="connsiteY21" fmla="*/ 2774949 h 5160396"/>
              <a:gd name="connsiteX22" fmla="*/ 4585466 w 9144765"/>
              <a:gd name="connsiteY22" fmla="*/ 4006849 h 5160396"/>
              <a:gd name="connsiteX23" fmla="*/ 3658366 w 9144765"/>
              <a:gd name="connsiteY23" fmla="*/ 4540249 h 5160396"/>
              <a:gd name="connsiteX24" fmla="*/ 2959867 w 9144765"/>
              <a:gd name="connsiteY24" fmla="*/ 4705349 h 5160396"/>
              <a:gd name="connsiteX25" fmla="*/ 2210567 w 9144765"/>
              <a:gd name="connsiteY25" fmla="*/ 4756149 h 5160396"/>
              <a:gd name="connsiteX26" fmla="*/ 1683516 w 9144765"/>
              <a:gd name="connsiteY26" fmla="*/ 4883149 h 5160396"/>
              <a:gd name="connsiteX27" fmla="*/ 1372367 w 9144765"/>
              <a:gd name="connsiteY27" fmla="*/ 5041899 h 5160396"/>
              <a:gd name="connsiteX28" fmla="*/ 1266996 w 9144765"/>
              <a:gd name="connsiteY28" fmla="*/ 5113486 h 5160396"/>
              <a:gd name="connsiteX29" fmla="*/ 1238412 w 9144765"/>
              <a:gd name="connsiteY29" fmla="*/ 5143499 h 5160396"/>
              <a:gd name="connsiteX30" fmla="*/ 9144765 w 9144765"/>
              <a:gd name="connsiteY30" fmla="*/ 5143499 h 5160396"/>
              <a:gd name="connsiteX31" fmla="*/ 9144765 w 9144765"/>
              <a:gd name="connsiteY31" fmla="*/ 5160396 h 5160396"/>
              <a:gd name="connsiteX32" fmla="*/ 0 w 9144765"/>
              <a:gd name="connsiteY32" fmla="*/ 5160396 h 5160396"/>
              <a:gd name="connsiteX0" fmla="*/ 0 w 9144765"/>
              <a:gd name="connsiteY0" fmla="*/ 5160396 h 5160396"/>
              <a:gd name="connsiteX1" fmla="*/ 766 w 9144765"/>
              <a:gd name="connsiteY1" fmla="*/ 2938753 h 5160396"/>
              <a:gd name="connsiteX2" fmla="*/ 131735 w 9144765"/>
              <a:gd name="connsiteY2" fmla="*/ 2820987 h 5160396"/>
              <a:gd name="connsiteX3" fmla="*/ 400816 w 9144765"/>
              <a:gd name="connsiteY3" fmla="*/ 2559049 h 5160396"/>
              <a:gd name="connsiteX4" fmla="*/ 699266 w 9144765"/>
              <a:gd name="connsiteY4" fmla="*/ 2184399 h 5160396"/>
              <a:gd name="connsiteX5" fmla="*/ 940566 w 9144765"/>
              <a:gd name="connsiteY5" fmla="*/ 1708149 h 5160396"/>
              <a:gd name="connsiteX6" fmla="*/ 1054866 w 9144765"/>
              <a:gd name="connsiteY6" fmla="*/ 1352549 h 5160396"/>
              <a:gd name="connsiteX7" fmla="*/ 1175516 w 9144765"/>
              <a:gd name="connsiteY7" fmla="*/ 990599 h 5160396"/>
              <a:gd name="connsiteX8" fmla="*/ 1397766 w 9144765"/>
              <a:gd name="connsiteY8" fmla="*/ 634999 h 5160396"/>
              <a:gd name="connsiteX9" fmla="*/ 1632716 w 9144765"/>
              <a:gd name="connsiteY9" fmla="*/ 355599 h 5160396"/>
              <a:gd name="connsiteX10" fmla="*/ 1924817 w 9144765"/>
              <a:gd name="connsiteY10" fmla="*/ 31749 h 5160396"/>
              <a:gd name="connsiteX11" fmla="*/ 1944722 w 9144765"/>
              <a:gd name="connsiteY11" fmla="*/ 10349 h 5160396"/>
              <a:gd name="connsiteX12" fmla="*/ 1953798 w 9144765"/>
              <a:gd name="connsiteY12" fmla="*/ 0 h 5160396"/>
              <a:gd name="connsiteX13" fmla="*/ 9144765 w 9144765"/>
              <a:gd name="connsiteY13" fmla="*/ 0 h 5160396"/>
              <a:gd name="connsiteX14" fmla="*/ 9144765 w 9144765"/>
              <a:gd name="connsiteY14" fmla="*/ 1454580 h 5160396"/>
              <a:gd name="connsiteX15" fmla="*/ 9121511 w 9144765"/>
              <a:gd name="connsiteY15" fmla="*/ 1443539 h 5160396"/>
              <a:gd name="connsiteX16" fmla="*/ 8878066 w 9144765"/>
              <a:gd name="connsiteY16" fmla="*/ 1346199 h 5160396"/>
              <a:gd name="connsiteX17" fmla="*/ 8486946 w 9144765"/>
              <a:gd name="connsiteY17" fmla="*/ 1285924 h 5160396"/>
              <a:gd name="connsiteX18" fmla="*/ 8338316 w 9144765"/>
              <a:gd name="connsiteY18" fmla="*/ 1295399 h 5160396"/>
              <a:gd name="connsiteX19" fmla="*/ 7563616 w 9144765"/>
              <a:gd name="connsiteY19" fmla="*/ 1466849 h 5160396"/>
              <a:gd name="connsiteX20" fmla="*/ 6858766 w 9144765"/>
              <a:gd name="connsiteY20" fmla="*/ 1847849 h 5160396"/>
              <a:gd name="connsiteX21" fmla="*/ 5772916 w 9144765"/>
              <a:gd name="connsiteY21" fmla="*/ 2774949 h 5160396"/>
              <a:gd name="connsiteX22" fmla="*/ 4585466 w 9144765"/>
              <a:gd name="connsiteY22" fmla="*/ 4006849 h 5160396"/>
              <a:gd name="connsiteX23" fmla="*/ 3658366 w 9144765"/>
              <a:gd name="connsiteY23" fmla="*/ 4540249 h 5160396"/>
              <a:gd name="connsiteX24" fmla="*/ 2959867 w 9144765"/>
              <a:gd name="connsiteY24" fmla="*/ 4705349 h 5160396"/>
              <a:gd name="connsiteX25" fmla="*/ 2210567 w 9144765"/>
              <a:gd name="connsiteY25" fmla="*/ 4756149 h 5160396"/>
              <a:gd name="connsiteX26" fmla="*/ 1683516 w 9144765"/>
              <a:gd name="connsiteY26" fmla="*/ 4883149 h 5160396"/>
              <a:gd name="connsiteX27" fmla="*/ 1372367 w 9144765"/>
              <a:gd name="connsiteY27" fmla="*/ 5041899 h 5160396"/>
              <a:gd name="connsiteX28" fmla="*/ 1266996 w 9144765"/>
              <a:gd name="connsiteY28" fmla="*/ 5113486 h 5160396"/>
              <a:gd name="connsiteX29" fmla="*/ 1238412 w 9144765"/>
              <a:gd name="connsiteY29" fmla="*/ 5143499 h 5160396"/>
              <a:gd name="connsiteX30" fmla="*/ 9144765 w 9144765"/>
              <a:gd name="connsiteY30" fmla="*/ 5143499 h 5160396"/>
              <a:gd name="connsiteX31" fmla="*/ 0 w 9144765"/>
              <a:gd name="connsiteY31" fmla="*/ 5160396 h 5160396"/>
              <a:gd name="connsiteX0" fmla="*/ 0 w 9144765"/>
              <a:gd name="connsiteY0" fmla="*/ 5160396 h 5160396"/>
              <a:gd name="connsiteX1" fmla="*/ 766 w 9144765"/>
              <a:gd name="connsiteY1" fmla="*/ 2938753 h 5160396"/>
              <a:gd name="connsiteX2" fmla="*/ 131735 w 9144765"/>
              <a:gd name="connsiteY2" fmla="*/ 2820987 h 5160396"/>
              <a:gd name="connsiteX3" fmla="*/ 400816 w 9144765"/>
              <a:gd name="connsiteY3" fmla="*/ 2559049 h 5160396"/>
              <a:gd name="connsiteX4" fmla="*/ 699266 w 9144765"/>
              <a:gd name="connsiteY4" fmla="*/ 2184399 h 5160396"/>
              <a:gd name="connsiteX5" fmla="*/ 940566 w 9144765"/>
              <a:gd name="connsiteY5" fmla="*/ 1708149 h 5160396"/>
              <a:gd name="connsiteX6" fmla="*/ 1054866 w 9144765"/>
              <a:gd name="connsiteY6" fmla="*/ 1352549 h 5160396"/>
              <a:gd name="connsiteX7" fmla="*/ 1175516 w 9144765"/>
              <a:gd name="connsiteY7" fmla="*/ 990599 h 5160396"/>
              <a:gd name="connsiteX8" fmla="*/ 1397766 w 9144765"/>
              <a:gd name="connsiteY8" fmla="*/ 634999 h 5160396"/>
              <a:gd name="connsiteX9" fmla="*/ 1632716 w 9144765"/>
              <a:gd name="connsiteY9" fmla="*/ 355599 h 5160396"/>
              <a:gd name="connsiteX10" fmla="*/ 1924817 w 9144765"/>
              <a:gd name="connsiteY10" fmla="*/ 31749 h 5160396"/>
              <a:gd name="connsiteX11" fmla="*/ 1944722 w 9144765"/>
              <a:gd name="connsiteY11" fmla="*/ 10349 h 5160396"/>
              <a:gd name="connsiteX12" fmla="*/ 1953798 w 9144765"/>
              <a:gd name="connsiteY12" fmla="*/ 0 h 5160396"/>
              <a:gd name="connsiteX13" fmla="*/ 9144765 w 9144765"/>
              <a:gd name="connsiteY13" fmla="*/ 0 h 5160396"/>
              <a:gd name="connsiteX14" fmla="*/ 9144765 w 9144765"/>
              <a:gd name="connsiteY14" fmla="*/ 1454580 h 5160396"/>
              <a:gd name="connsiteX15" fmla="*/ 9121511 w 9144765"/>
              <a:gd name="connsiteY15" fmla="*/ 1443539 h 5160396"/>
              <a:gd name="connsiteX16" fmla="*/ 8878066 w 9144765"/>
              <a:gd name="connsiteY16" fmla="*/ 1346199 h 5160396"/>
              <a:gd name="connsiteX17" fmla="*/ 8486946 w 9144765"/>
              <a:gd name="connsiteY17" fmla="*/ 1285924 h 5160396"/>
              <a:gd name="connsiteX18" fmla="*/ 8338316 w 9144765"/>
              <a:gd name="connsiteY18" fmla="*/ 1295399 h 5160396"/>
              <a:gd name="connsiteX19" fmla="*/ 7563616 w 9144765"/>
              <a:gd name="connsiteY19" fmla="*/ 1466849 h 5160396"/>
              <a:gd name="connsiteX20" fmla="*/ 6858766 w 9144765"/>
              <a:gd name="connsiteY20" fmla="*/ 1847849 h 5160396"/>
              <a:gd name="connsiteX21" fmla="*/ 5772916 w 9144765"/>
              <a:gd name="connsiteY21" fmla="*/ 2774949 h 5160396"/>
              <a:gd name="connsiteX22" fmla="*/ 4585466 w 9144765"/>
              <a:gd name="connsiteY22" fmla="*/ 4006849 h 5160396"/>
              <a:gd name="connsiteX23" fmla="*/ 3658366 w 9144765"/>
              <a:gd name="connsiteY23" fmla="*/ 4540249 h 5160396"/>
              <a:gd name="connsiteX24" fmla="*/ 2959867 w 9144765"/>
              <a:gd name="connsiteY24" fmla="*/ 4705349 h 5160396"/>
              <a:gd name="connsiteX25" fmla="*/ 2210567 w 9144765"/>
              <a:gd name="connsiteY25" fmla="*/ 4756149 h 5160396"/>
              <a:gd name="connsiteX26" fmla="*/ 1683516 w 9144765"/>
              <a:gd name="connsiteY26" fmla="*/ 4883149 h 5160396"/>
              <a:gd name="connsiteX27" fmla="*/ 1372367 w 9144765"/>
              <a:gd name="connsiteY27" fmla="*/ 5041899 h 5160396"/>
              <a:gd name="connsiteX28" fmla="*/ 1266996 w 9144765"/>
              <a:gd name="connsiteY28" fmla="*/ 5113486 h 5160396"/>
              <a:gd name="connsiteX29" fmla="*/ 1238412 w 9144765"/>
              <a:gd name="connsiteY29" fmla="*/ 5143499 h 5160396"/>
              <a:gd name="connsiteX30" fmla="*/ 0 w 9144765"/>
              <a:gd name="connsiteY30" fmla="*/ 5160396 h 5160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144765" h="5160396">
                <a:moveTo>
                  <a:pt x="0" y="5160396"/>
                </a:moveTo>
                <a:cubicBezTo>
                  <a:pt x="255" y="4419848"/>
                  <a:pt x="511" y="3679301"/>
                  <a:pt x="766" y="2938753"/>
                </a:cubicBezTo>
                <a:lnTo>
                  <a:pt x="131735" y="2820987"/>
                </a:lnTo>
                <a:cubicBezTo>
                  <a:pt x="231748" y="2728382"/>
                  <a:pt x="330437" y="2632074"/>
                  <a:pt x="400816" y="2559049"/>
                </a:cubicBezTo>
                <a:cubicBezTo>
                  <a:pt x="541574" y="2412999"/>
                  <a:pt x="609308" y="2326216"/>
                  <a:pt x="699266" y="2184399"/>
                </a:cubicBezTo>
                <a:cubicBezTo>
                  <a:pt x="789224" y="2042582"/>
                  <a:pt x="881299" y="1846791"/>
                  <a:pt x="940566" y="1708149"/>
                </a:cubicBezTo>
                <a:cubicBezTo>
                  <a:pt x="999833" y="1569507"/>
                  <a:pt x="1015708" y="1472141"/>
                  <a:pt x="1054866" y="1352549"/>
                </a:cubicBezTo>
                <a:cubicBezTo>
                  <a:pt x="1094024" y="1232957"/>
                  <a:pt x="1118366" y="1110191"/>
                  <a:pt x="1175516" y="990599"/>
                </a:cubicBezTo>
                <a:cubicBezTo>
                  <a:pt x="1232666" y="871007"/>
                  <a:pt x="1321566" y="740832"/>
                  <a:pt x="1397766" y="634999"/>
                </a:cubicBezTo>
                <a:cubicBezTo>
                  <a:pt x="1473967" y="529166"/>
                  <a:pt x="1544874" y="456141"/>
                  <a:pt x="1632716" y="355599"/>
                </a:cubicBezTo>
                <a:cubicBezTo>
                  <a:pt x="1720558" y="255057"/>
                  <a:pt x="1859199" y="100541"/>
                  <a:pt x="1924817" y="31749"/>
                </a:cubicBezTo>
                <a:cubicBezTo>
                  <a:pt x="1933018" y="23150"/>
                  <a:pt x="1939501" y="16139"/>
                  <a:pt x="1944722" y="10349"/>
                </a:cubicBezTo>
                <a:lnTo>
                  <a:pt x="1953798" y="0"/>
                </a:lnTo>
                <a:lnTo>
                  <a:pt x="9144765" y="0"/>
                </a:lnTo>
                <a:lnTo>
                  <a:pt x="9144765" y="1454580"/>
                </a:lnTo>
                <a:lnTo>
                  <a:pt x="9121511" y="1443539"/>
                </a:lnTo>
                <a:cubicBezTo>
                  <a:pt x="9028730" y="1401158"/>
                  <a:pt x="8942624" y="1365646"/>
                  <a:pt x="8878066" y="1346199"/>
                </a:cubicBezTo>
                <a:cubicBezTo>
                  <a:pt x="8728047" y="1298574"/>
                  <a:pt x="8622677" y="1282501"/>
                  <a:pt x="8486946" y="1285924"/>
                </a:cubicBezTo>
                <a:cubicBezTo>
                  <a:pt x="8441702" y="1287065"/>
                  <a:pt x="8393085" y="1290372"/>
                  <a:pt x="8338316" y="1295399"/>
                </a:cubicBezTo>
                <a:cubicBezTo>
                  <a:pt x="8119241" y="1315507"/>
                  <a:pt x="7810208" y="1374774"/>
                  <a:pt x="7563616" y="1466849"/>
                </a:cubicBezTo>
                <a:cubicBezTo>
                  <a:pt x="7317024" y="1558924"/>
                  <a:pt x="7157216" y="1629832"/>
                  <a:pt x="6858766" y="1847849"/>
                </a:cubicBezTo>
                <a:cubicBezTo>
                  <a:pt x="6560316" y="2065866"/>
                  <a:pt x="6151799" y="2415116"/>
                  <a:pt x="5772916" y="2774949"/>
                </a:cubicBezTo>
                <a:cubicBezTo>
                  <a:pt x="5394033" y="3134782"/>
                  <a:pt x="4937891" y="3712632"/>
                  <a:pt x="4585466" y="4006849"/>
                </a:cubicBezTo>
                <a:cubicBezTo>
                  <a:pt x="4233041" y="4301066"/>
                  <a:pt x="3929300" y="4423832"/>
                  <a:pt x="3658366" y="4540249"/>
                </a:cubicBezTo>
                <a:cubicBezTo>
                  <a:pt x="3387434" y="4656666"/>
                  <a:pt x="3201167" y="4669366"/>
                  <a:pt x="2959867" y="4705349"/>
                </a:cubicBezTo>
                <a:cubicBezTo>
                  <a:pt x="2718567" y="4741332"/>
                  <a:pt x="2423291" y="4726516"/>
                  <a:pt x="2210567" y="4756149"/>
                </a:cubicBezTo>
                <a:cubicBezTo>
                  <a:pt x="1997841" y="4785782"/>
                  <a:pt x="1823216" y="4835524"/>
                  <a:pt x="1683516" y="4883149"/>
                </a:cubicBezTo>
                <a:cubicBezTo>
                  <a:pt x="1543816" y="4930774"/>
                  <a:pt x="1448566" y="4996391"/>
                  <a:pt x="1372367" y="5041899"/>
                </a:cubicBezTo>
                <a:cubicBezTo>
                  <a:pt x="1315216" y="5076030"/>
                  <a:pt x="1299738" y="5081587"/>
                  <a:pt x="1266996" y="5113486"/>
                </a:cubicBezTo>
                <a:lnTo>
                  <a:pt x="1238412" y="5143499"/>
                </a:lnTo>
                <a:lnTo>
                  <a:pt x="0" y="5160396"/>
                </a:lnTo>
                <a:close/>
              </a:path>
            </a:pathLst>
          </a:custGeom>
          <a:solidFill>
            <a:schemeClr val="bg2"/>
          </a:solidFill>
        </p:spPr>
        <p:txBody>
          <a:bodyPr wrap="square" anchor="ctr">
            <a:noAutofit/>
          </a:bodyPr>
          <a:lstStyle>
            <a:lvl1pPr marL="0" indent="0" algn="ctr">
              <a:buFont typeface="Arial" panose="020B0604020202020204" pitchFamily="34" charset="0"/>
              <a:buNone/>
              <a:defRPr/>
            </a:lvl1pPr>
          </a:lstStyle>
          <a:p>
            <a:r>
              <a:rPr lang="nl-NL" dirty="0"/>
              <a:t>Klik op het pictogram als u een afbeelding wilt toevoegen</a:t>
            </a:r>
            <a:endParaRPr dirty="0"/>
          </a:p>
        </p:txBody>
      </p:sp>
      <p:sp>
        <p:nvSpPr>
          <p:cNvPr id="21" name="Title 2">
            <a:extLst>
              <a:ext uri="{FF2B5EF4-FFF2-40B4-BE49-F238E27FC236}">
                <a16:creationId xmlns:a16="http://schemas.microsoft.com/office/drawing/2014/main" id="{7220D76D-B151-431E-AC34-C323813440B2}"/>
              </a:ext>
            </a:extLst>
          </p:cNvPr>
          <p:cNvSpPr>
            <a:spLocks noGrp="1"/>
          </p:cNvSpPr>
          <p:nvPr>
            <p:ph type="title" hasCustomPrompt="1"/>
          </p:nvPr>
        </p:nvSpPr>
        <p:spPr>
          <a:xfrm>
            <a:off x="8054120" y="3572539"/>
            <a:ext cx="3614680" cy="2634271"/>
          </a:xfrm>
          <a:prstGeom prst="rect">
            <a:avLst/>
          </a:prstGeom>
        </p:spPr>
        <p:txBody>
          <a:bodyPr lIns="90000" rIns="90000" anchor="t"/>
          <a:lstStyle>
            <a:lvl1pPr algn="r">
              <a:defRPr sz="3733">
                <a:solidFill>
                  <a:schemeClr val="bg1"/>
                </a:solidFill>
                <a:latin typeface="Crank 8 Plus Two" panose="02000506030000020004" pitchFamily="50" charset="0"/>
              </a:defRPr>
            </a:lvl1pPr>
          </a:lstStyle>
          <a:p>
            <a:r>
              <a:rPr lang="en-US" dirty="0"/>
              <a:t>Click to edit master text style</a:t>
            </a:r>
            <a:br>
              <a:rPr lang="en-US" dirty="0"/>
            </a:br>
            <a:endParaRPr dirty="0"/>
          </a:p>
        </p:txBody>
      </p:sp>
      <p:sp>
        <p:nvSpPr>
          <p:cNvPr id="27" name="Freeform: Shape 26">
            <a:extLst>
              <a:ext uri="{FF2B5EF4-FFF2-40B4-BE49-F238E27FC236}">
                <a16:creationId xmlns:a16="http://schemas.microsoft.com/office/drawing/2014/main" id="{AB637F30-E8B9-4002-9182-B08FCDD09178}"/>
              </a:ext>
            </a:extLst>
          </p:cNvPr>
          <p:cNvSpPr/>
          <p:nvPr userDrawn="1"/>
        </p:nvSpPr>
        <p:spPr bwMode="auto">
          <a:xfrm>
            <a:off x="2" y="0"/>
            <a:ext cx="2604044" cy="3918339"/>
          </a:xfrm>
          <a:custGeom>
            <a:avLst/>
            <a:gdLst>
              <a:gd name="connsiteX0" fmla="*/ 0 w 1953033"/>
              <a:gd name="connsiteY0" fmla="*/ 0 h 2938754"/>
              <a:gd name="connsiteX1" fmla="*/ 1953033 w 1953033"/>
              <a:gd name="connsiteY1" fmla="*/ 0 h 2938754"/>
              <a:gd name="connsiteX2" fmla="*/ 1943956 w 1953033"/>
              <a:gd name="connsiteY2" fmla="*/ 10350 h 2938754"/>
              <a:gd name="connsiteX3" fmla="*/ 1924050 w 1953033"/>
              <a:gd name="connsiteY3" fmla="*/ 31750 h 2938754"/>
              <a:gd name="connsiteX4" fmla="*/ 1631950 w 1953033"/>
              <a:gd name="connsiteY4" fmla="*/ 355600 h 2938754"/>
              <a:gd name="connsiteX5" fmla="*/ 1397000 w 1953033"/>
              <a:gd name="connsiteY5" fmla="*/ 635000 h 2938754"/>
              <a:gd name="connsiteX6" fmla="*/ 1174750 w 1953033"/>
              <a:gd name="connsiteY6" fmla="*/ 990600 h 2938754"/>
              <a:gd name="connsiteX7" fmla="*/ 1054100 w 1953033"/>
              <a:gd name="connsiteY7" fmla="*/ 1352550 h 2938754"/>
              <a:gd name="connsiteX8" fmla="*/ 939800 w 1953033"/>
              <a:gd name="connsiteY8" fmla="*/ 1708150 h 2938754"/>
              <a:gd name="connsiteX9" fmla="*/ 698500 w 1953033"/>
              <a:gd name="connsiteY9" fmla="*/ 2184400 h 2938754"/>
              <a:gd name="connsiteX10" fmla="*/ 400050 w 1953033"/>
              <a:gd name="connsiteY10" fmla="*/ 2559050 h 2938754"/>
              <a:gd name="connsiteX11" fmla="*/ 130969 w 1953033"/>
              <a:gd name="connsiteY11" fmla="*/ 2820988 h 2938754"/>
              <a:gd name="connsiteX12" fmla="*/ 0 w 1953033"/>
              <a:gd name="connsiteY12" fmla="*/ 2938754 h 293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3033" h="2938754">
                <a:moveTo>
                  <a:pt x="0" y="0"/>
                </a:moveTo>
                <a:lnTo>
                  <a:pt x="1953033" y="0"/>
                </a:lnTo>
                <a:lnTo>
                  <a:pt x="1943956" y="10350"/>
                </a:lnTo>
                <a:cubicBezTo>
                  <a:pt x="1938735" y="16140"/>
                  <a:pt x="1932252" y="23151"/>
                  <a:pt x="1924050" y="31750"/>
                </a:cubicBezTo>
                <a:cubicBezTo>
                  <a:pt x="1858433" y="100542"/>
                  <a:pt x="1719792" y="255058"/>
                  <a:pt x="1631950" y="355600"/>
                </a:cubicBezTo>
                <a:cubicBezTo>
                  <a:pt x="1544108" y="456142"/>
                  <a:pt x="1473200" y="529167"/>
                  <a:pt x="1397000" y="635000"/>
                </a:cubicBezTo>
                <a:cubicBezTo>
                  <a:pt x="1320800" y="740833"/>
                  <a:pt x="1231900" y="871008"/>
                  <a:pt x="1174750" y="990600"/>
                </a:cubicBezTo>
                <a:cubicBezTo>
                  <a:pt x="1117600" y="1110192"/>
                  <a:pt x="1093258" y="1232958"/>
                  <a:pt x="1054100" y="1352550"/>
                </a:cubicBezTo>
                <a:cubicBezTo>
                  <a:pt x="1014942" y="1472142"/>
                  <a:pt x="999067" y="1569508"/>
                  <a:pt x="939800" y="1708150"/>
                </a:cubicBezTo>
                <a:cubicBezTo>
                  <a:pt x="880533" y="1846792"/>
                  <a:pt x="788458" y="2042583"/>
                  <a:pt x="698500" y="2184400"/>
                </a:cubicBezTo>
                <a:cubicBezTo>
                  <a:pt x="608542" y="2326217"/>
                  <a:pt x="540808" y="2413000"/>
                  <a:pt x="400050" y="2559050"/>
                </a:cubicBezTo>
                <a:cubicBezTo>
                  <a:pt x="329671" y="2632075"/>
                  <a:pt x="230982" y="2728383"/>
                  <a:pt x="130969" y="2820988"/>
                </a:cubicBezTo>
                <a:lnTo>
                  <a:pt x="0" y="2938754"/>
                </a:lnTo>
                <a:close/>
              </a:path>
            </a:pathLst>
          </a:custGeom>
          <a:solidFill>
            <a:schemeClr val="accent4"/>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5" name="Text Placeholder 4">
            <a:extLst>
              <a:ext uri="{FF2B5EF4-FFF2-40B4-BE49-F238E27FC236}">
                <a16:creationId xmlns:a16="http://schemas.microsoft.com/office/drawing/2014/main" id="{EC92FBAA-6AE0-4D02-86CD-440F0AB15C45}"/>
              </a:ext>
            </a:extLst>
          </p:cNvPr>
          <p:cNvSpPr>
            <a:spLocks noGrp="1" noChangeAspect="1"/>
          </p:cNvSpPr>
          <p:nvPr>
            <p:ph type="body" sz="quarter" idx="11" hasCustomPrompt="1"/>
          </p:nvPr>
        </p:nvSpPr>
        <p:spPr>
          <a:xfrm>
            <a:off x="9938880" y="651173"/>
            <a:ext cx="1602720" cy="4752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0" tIns="0" rIns="0" bIns="0"/>
          <a:lstStyle>
            <a:lvl1pPr marL="0" indent="0" algn="r">
              <a:buNone/>
              <a:defRPr sz="800">
                <a:solidFill>
                  <a:schemeClr val="bg1">
                    <a:alpha val="0"/>
                  </a:schemeClr>
                </a:solidFill>
              </a:defRPr>
            </a:lvl1pPr>
          </a:lstStyle>
          <a:p>
            <a:pPr lvl="0"/>
            <a:r>
              <a:rPr lang="en-US" dirty="0"/>
              <a:t>x</a:t>
            </a:r>
            <a:endParaRPr lang="nl-BE" dirty="0"/>
          </a:p>
        </p:txBody>
      </p:sp>
    </p:spTree>
    <p:extLst>
      <p:ext uri="{BB962C8B-B14F-4D97-AF65-F5344CB8AC3E}">
        <p14:creationId xmlns:p14="http://schemas.microsoft.com/office/powerpoint/2010/main" val="584243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finity infographic">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43D847F-A51C-EF48-BB81-BE60A6749C88}"/>
              </a:ext>
            </a:extLst>
          </p:cNvPr>
          <p:cNvGrpSpPr/>
          <p:nvPr userDrawn="1"/>
        </p:nvGrpSpPr>
        <p:grpSpPr>
          <a:xfrm>
            <a:off x="2128316" y="1544620"/>
            <a:ext cx="7897725" cy="4465169"/>
            <a:chOff x="-361030" y="1"/>
            <a:chExt cx="11012487" cy="6226174"/>
          </a:xfrm>
        </p:grpSpPr>
        <p:sp>
          <p:nvSpPr>
            <p:cNvPr id="4" name="AutoShape 2">
              <a:extLst>
                <a:ext uri="{FF2B5EF4-FFF2-40B4-BE49-F238E27FC236}">
                  <a16:creationId xmlns:a16="http://schemas.microsoft.com/office/drawing/2014/main" id="{FB6BA4CD-C988-CE48-8FB4-358609C35E97}"/>
                </a:ext>
              </a:extLst>
            </p:cNvPr>
            <p:cNvSpPr>
              <a:spLocks/>
            </p:cNvSpPr>
            <p:nvPr/>
          </p:nvSpPr>
          <p:spPr bwMode="auto">
            <a:xfrm rot="10800000">
              <a:off x="4633245" y="96838"/>
              <a:ext cx="2943224"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991E66"/>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74C606"/>
                </a:solidFill>
                <a:latin typeface="+mn-lt"/>
                <a:cs typeface="Roboto" panose="02000000000000000000" pitchFamily="2" charset="0"/>
                <a:sym typeface="Helvetica Light" charset="0"/>
              </a:endParaRPr>
            </a:p>
          </p:txBody>
        </p:sp>
        <p:sp>
          <p:nvSpPr>
            <p:cNvPr id="5" name="AutoShape 3">
              <a:extLst>
                <a:ext uri="{FF2B5EF4-FFF2-40B4-BE49-F238E27FC236}">
                  <a16:creationId xmlns:a16="http://schemas.microsoft.com/office/drawing/2014/main" id="{3C7246D1-0A1C-F842-AF8E-B5DEFAD585D3}"/>
                </a:ext>
              </a:extLst>
            </p:cNvPr>
            <p:cNvSpPr>
              <a:spLocks/>
            </p:cNvSpPr>
            <p:nvPr/>
          </p:nvSpPr>
          <p:spPr bwMode="auto">
            <a:xfrm rot="16200000">
              <a:off x="7804277" y="97632"/>
              <a:ext cx="2944811"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991E66"/>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74C606"/>
                </a:solidFill>
                <a:latin typeface="+mn-lt"/>
                <a:cs typeface="Roboto" panose="02000000000000000000" pitchFamily="2" charset="0"/>
                <a:sym typeface="Helvetica Light" charset="0"/>
              </a:endParaRPr>
            </a:p>
          </p:txBody>
        </p:sp>
        <p:sp>
          <p:nvSpPr>
            <p:cNvPr id="6" name="AutoShape 4">
              <a:extLst>
                <a:ext uri="{FF2B5EF4-FFF2-40B4-BE49-F238E27FC236}">
                  <a16:creationId xmlns:a16="http://schemas.microsoft.com/office/drawing/2014/main" id="{3FCBBECC-5CD0-DC4C-BE93-F51BFFF1C7A1}"/>
                </a:ext>
              </a:extLst>
            </p:cNvPr>
            <p:cNvSpPr>
              <a:spLocks/>
            </p:cNvSpPr>
            <p:nvPr/>
          </p:nvSpPr>
          <p:spPr bwMode="auto">
            <a:xfrm>
              <a:off x="7706645" y="3379787"/>
              <a:ext cx="2944812"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991E66"/>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F6DC68"/>
                </a:solidFill>
                <a:latin typeface="+mn-lt"/>
                <a:cs typeface="Roboto" panose="02000000000000000000" pitchFamily="2" charset="0"/>
                <a:sym typeface="Helvetica Light" charset="0"/>
              </a:endParaRPr>
            </a:p>
          </p:txBody>
        </p:sp>
        <p:sp>
          <p:nvSpPr>
            <p:cNvPr id="7" name="AutoShape 5">
              <a:extLst>
                <a:ext uri="{FF2B5EF4-FFF2-40B4-BE49-F238E27FC236}">
                  <a16:creationId xmlns:a16="http://schemas.microsoft.com/office/drawing/2014/main" id="{CAED744B-A356-EC4F-8945-59C9EC191545}"/>
                </a:ext>
              </a:extLst>
            </p:cNvPr>
            <p:cNvSpPr>
              <a:spLocks/>
            </p:cNvSpPr>
            <p:nvPr/>
          </p:nvSpPr>
          <p:spPr bwMode="auto">
            <a:xfrm rot="5400000" flipH="1">
              <a:off x="-458661" y="97632"/>
              <a:ext cx="2944812"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ED8B02"/>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B7EDE6"/>
                </a:solidFill>
                <a:latin typeface="+mn-lt"/>
                <a:cs typeface="Roboto" panose="02000000000000000000" pitchFamily="2" charset="0"/>
                <a:sym typeface="Helvetica Light" charset="0"/>
              </a:endParaRPr>
            </a:p>
          </p:txBody>
        </p:sp>
        <p:sp>
          <p:nvSpPr>
            <p:cNvPr id="8" name="AutoShape 6">
              <a:extLst>
                <a:ext uri="{FF2B5EF4-FFF2-40B4-BE49-F238E27FC236}">
                  <a16:creationId xmlns:a16="http://schemas.microsoft.com/office/drawing/2014/main" id="{EC02AD67-14F7-7F43-801E-88E2EC44F38E}"/>
                </a:ext>
              </a:extLst>
            </p:cNvPr>
            <p:cNvSpPr>
              <a:spLocks/>
            </p:cNvSpPr>
            <p:nvPr/>
          </p:nvSpPr>
          <p:spPr bwMode="auto">
            <a:xfrm flipH="1">
              <a:off x="-361030" y="3379787"/>
              <a:ext cx="2943224"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ED8B02"/>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B7EDE6"/>
                </a:solidFill>
                <a:latin typeface="+mn-lt"/>
                <a:cs typeface="Roboto" panose="02000000000000000000" pitchFamily="2" charset="0"/>
                <a:sym typeface="Helvetica Light" charset="0"/>
              </a:endParaRPr>
            </a:p>
          </p:txBody>
        </p:sp>
        <p:sp>
          <p:nvSpPr>
            <p:cNvPr id="9" name="AutoShape 7">
              <a:extLst>
                <a:ext uri="{FF2B5EF4-FFF2-40B4-BE49-F238E27FC236}">
                  <a16:creationId xmlns:a16="http://schemas.microsoft.com/office/drawing/2014/main" id="{1E07DD9B-49E2-9643-9949-8511DFF9CD80}"/>
                </a:ext>
              </a:extLst>
            </p:cNvPr>
            <p:cNvSpPr>
              <a:spLocks/>
            </p:cNvSpPr>
            <p:nvPr/>
          </p:nvSpPr>
          <p:spPr bwMode="auto">
            <a:xfrm rot="16200000" flipH="1">
              <a:off x="2810794" y="3379788"/>
              <a:ext cx="2943224" cy="274954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596" y="0"/>
                  </a:moveTo>
                  <a:cubicBezTo>
                    <a:pt x="15241" y="3334"/>
                    <a:pt x="13873" y="6567"/>
                    <a:pt x="11486" y="9124"/>
                  </a:cubicBezTo>
                  <a:cubicBezTo>
                    <a:pt x="9829" y="10898"/>
                    <a:pt x="7864" y="12140"/>
                    <a:pt x="5778" y="12865"/>
                  </a:cubicBezTo>
                  <a:lnTo>
                    <a:pt x="5545" y="11001"/>
                  </a:lnTo>
                  <a:lnTo>
                    <a:pt x="0" y="17194"/>
                  </a:lnTo>
                  <a:lnTo>
                    <a:pt x="3964" y="19736"/>
                  </a:lnTo>
                  <a:lnTo>
                    <a:pt x="3964" y="19842"/>
                  </a:lnTo>
                  <a:cubicBezTo>
                    <a:pt x="4007" y="19836"/>
                    <a:pt x="4050" y="19825"/>
                    <a:pt x="4093" y="19819"/>
                  </a:cubicBezTo>
                  <a:lnTo>
                    <a:pt x="6873" y="21599"/>
                  </a:lnTo>
                  <a:lnTo>
                    <a:pt x="6580" y="19274"/>
                  </a:lnTo>
                  <a:cubicBezTo>
                    <a:pt x="9925" y="18322"/>
                    <a:pt x="13090" y="16460"/>
                    <a:pt x="15713" y="13651"/>
                  </a:cubicBezTo>
                  <a:cubicBezTo>
                    <a:pt x="19269" y="9844"/>
                    <a:pt x="21227" y="4976"/>
                    <a:pt x="21599" y="0"/>
                  </a:cubicBezTo>
                  <a:lnTo>
                    <a:pt x="15596" y="0"/>
                  </a:lnTo>
                  <a:close/>
                </a:path>
              </a:pathLst>
            </a:custGeom>
            <a:solidFill>
              <a:srgbClr val="ED8B02"/>
            </a:solidFill>
            <a:ln>
              <a:noFill/>
            </a:ln>
            <a:effectLst/>
          </p:spPr>
          <p:txBody>
            <a:bodyPr lIns="50800" tIns="50800" rIns="50800" bIns="50800"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600" dirty="0">
                <a:solidFill>
                  <a:srgbClr val="F6DC68"/>
                </a:solidFill>
                <a:latin typeface="+mn-lt"/>
                <a:cs typeface="Roboto" panose="02000000000000000000" pitchFamily="2" charset="0"/>
                <a:sym typeface="Helvetica Light" charset="0"/>
              </a:endParaRPr>
            </a:p>
          </p:txBody>
        </p:sp>
      </p:grpSp>
      <p:sp>
        <p:nvSpPr>
          <p:cNvPr id="19" name="Picture Placeholder 18">
            <a:extLst>
              <a:ext uri="{FF2B5EF4-FFF2-40B4-BE49-F238E27FC236}">
                <a16:creationId xmlns:a16="http://schemas.microsoft.com/office/drawing/2014/main" id="{513D87C9-2F6C-3D42-9D6C-28451FB08196}"/>
              </a:ext>
            </a:extLst>
          </p:cNvPr>
          <p:cNvSpPr>
            <a:spLocks noGrp="1"/>
          </p:cNvSpPr>
          <p:nvPr>
            <p:ph type="pic" sz="quarter" idx="10" hasCustomPrompt="1"/>
          </p:nvPr>
        </p:nvSpPr>
        <p:spPr>
          <a:xfrm>
            <a:off x="3787371" y="2704612"/>
            <a:ext cx="855133" cy="855133"/>
          </a:xfrm>
          <a:prstGeom prst="rect">
            <a:avLst/>
          </a:prstGeom>
        </p:spPr>
        <p:txBody>
          <a:bodyPr anchor="ctr"/>
          <a:lstStyle>
            <a:lvl1pPr marL="0" indent="0" algn="ctr">
              <a:buNone/>
              <a:defRPr sz="1600">
                <a:solidFill>
                  <a:schemeClr val="tx2"/>
                </a:solidFill>
                <a:latin typeface="+mn-lt"/>
              </a:defRPr>
            </a:lvl1pPr>
          </a:lstStyle>
          <a:p>
            <a:r>
              <a:rPr lang="nl-BE" dirty="0"/>
              <a:t>icon01</a:t>
            </a:r>
            <a:endParaRPr dirty="0"/>
          </a:p>
        </p:txBody>
      </p:sp>
      <p:sp>
        <p:nvSpPr>
          <p:cNvPr id="22" name="Text Placeholder 21">
            <a:extLst>
              <a:ext uri="{FF2B5EF4-FFF2-40B4-BE49-F238E27FC236}">
                <a16:creationId xmlns:a16="http://schemas.microsoft.com/office/drawing/2014/main" id="{9CE52674-2804-4642-99CF-AD69C125FE58}"/>
              </a:ext>
            </a:extLst>
          </p:cNvPr>
          <p:cNvSpPr>
            <a:spLocks noGrp="1"/>
          </p:cNvSpPr>
          <p:nvPr>
            <p:ph type="body" sz="quarter" idx="12" hasCustomPrompt="1"/>
          </p:nvPr>
        </p:nvSpPr>
        <p:spPr>
          <a:xfrm>
            <a:off x="3323820" y="3777204"/>
            <a:ext cx="1808363" cy="762000"/>
          </a:xfrm>
          <a:prstGeom prst="rect">
            <a:avLst/>
          </a:prstGeom>
        </p:spPr>
        <p:txBody>
          <a:bodyPr anchor="ctr"/>
          <a:lstStyle>
            <a:lvl1pPr marL="0" indent="0" algn="ctr">
              <a:buNone/>
              <a:defRPr b="1">
                <a:solidFill>
                  <a:schemeClr val="accent1"/>
                </a:solidFill>
                <a:latin typeface="+mn-lt"/>
                <a:ea typeface="Roboto" panose="02000000000000000000" pitchFamily="2" charset="0"/>
              </a:defRPr>
            </a:lvl1pPr>
            <a:lvl4pPr marL="1371566" indent="0">
              <a:buNone/>
              <a:defRPr>
                <a:solidFill>
                  <a:schemeClr val="accent1"/>
                </a:solidFill>
                <a:latin typeface="Roboto" panose="02000000000000000000" pitchFamily="2" charset="0"/>
                <a:ea typeface="Roboto" panose="02000000000000000000" pitchFamily="2" charset="0"/>
              </a:defRPr>
            </a:lvl4pPr>
            <a:lvl5pPr marL="1828754" indent="0">
              <a:buNone/>
              <a:defRPr>
                <a:solidFill>
                  <a:schemeClr val="accent1"/>
                </a:solidFill>
                <a:latin typeface="Roboto" panose="02000000000000000000" pitchFamily="2" charset="0"/>
                <a:ea typeface="Roboto" panose="02000000000000000000" pitchFamily="2" charset="0"/>
              </a:defRPr>
            </a:lvl5pPr>
          </a:lstStyle>
          <a:p>
            <a:pPr lvl="0"/>
            <a:r>
              <a:rPr lang="en-US" dirty="0"/>
              <a:t>Item 01</a:t>
            </a:r>
            <a:endParaRPr dirty="0"/>
          </a:p>
        </p:txBody>
      </p:sp>
      <p:sp>
        <p:nvSpPr>
          <p:cNvPr id="23" name="Picture Placeholder 18">
            <a:extLst>
              <a:ext uri="{FF2B5EF4-FFF2-40B4-BE49-F238E27FC236}">
                <a16:creationId xmlns:a16="http://schemas.microsoft.com/office/drawing/2014/main" id="{9BD3F2B5-3D3A-154D-B7D9-DB3FA59BA20A}"/>
              </a:ext>
            </a:extLst>
          </p:cNvPr>
          <p:cNvSpPr>
            <a:spLocks noGrp="1"/>
          </p:cNvSpPr>
          <p:nvPr>
            <p:ph type="pic" sz="quarter" idx="13" hasCustomPrompt="1"/>
          </p:nvPr>
        </p:nvSpPr>
        <p:spPr>
          <a:xfrm>
            <a:off x="7391962" y="2704612"/>
            <a:ext cx="855133" cy="855133"/>
          </a:xfrm>
          <a:prstGeom prst="rect">
            <a:avLst/>
          </a:prstGeom>
        </p:spPr>
        <p:txBody>
          <a:bodyPr anchor="ctr"/>
          <a:lstStyle>
            <a:lvl1pPr marL="0" indent="0" algn="ctr">
              <a:buNone/>
              <a:defRPr sz="1600">
                <a:solidFill>
                  <a:schemeClr val="tx2"/>
                </a:solidFill>
                <a:latin typeface="+mn-lt"/>
              </a:defRPr>
            </a:lvl1pPr>
          </a:lstStyle>
          <a:p>
            <a:r>
              <a:rPr lang="nl-BE" dirty="0"/>
              <a:t>icon02</a:t>
            </a:r>
            <a:endParaRPr dirty="0"/>
          </a:p>
        </p:txBody>
      </p:sp>
      <p:sp>
        <p:nvSpPr>
          <p:cNvPr id="24" name="Text Placeholder 21">
            <a:extLst>
              <a:ext uri="{FF2B5EF4-FFF2-40B4-BE49-F238E27FC236}">
                <a16:creationId xmlns:a16="http://schemas.microsoft.com/office/drawing/2014/main" id="{65E5A6C4-32F1-3C4A-A6B7-2008EFBF6AF1}"/>
              </a:ext>
            </a:extLst>
          </p:cNvPr>
          <p:cNvSpPr>
            <a:spLocks noGrp="1"/>
          </p:cNvSpPr>
          <p:nvPr>
            <p:ph type="body" sz="quarter" idx="14" hasCustomPrompt="1"/>
          </p:nvPr>
        </p:nvSpPr>
        <p:spPr>
          <a:xfrm>
            <a:off x="6928410" y="3777204"/>
            <a:ext cx="1808363" cy="762000"/>
          </a:xfrm>
          <a:prstGeom prst="rect">
            <a:avLst/>
          </a:prstGeom>
        </p:spPr>
        <p:txBody>
          <a:bodyPr anchor="ctr"/>
          <a:lstStyle>
            <a:lvl1pPr marL="0" indent="0" algn="ctr">
              <a:buNone/>
              <a:defRPr b="1">
                <a:solidFill>
                  <a:schemeClr val="accent3"/>
                </a:solidFill>
                <a:latin typeface="+mn-lt"/>
                <a:ea typeface="Roboto" panose="02000000000000000000" pitchFamily="2" charset="0"/>
              </a:defRPr>
            </a:lvl1pPr>
            <a:lvl4pPr marL="1371566" indent="0">
              <a:buNone/>
              <a:defRPr>
                <a:solidFill>
                  <a:schemeClr val="accent1"/>
                </a:solidFill>
                <a:latin typeface="Roboto" panose="02000000000000000000" pitchFamily="2" charset="0"/>
                <a:ea typeface="Roboto" panose="02000000000000000000" pitchFamily="2" charset="0"/>
              </a:defRPr>
            </a:lvl4pPr>
            <a:lvl5pPr marL="1828754" indent="0">
              <a:buNone/>
              <a:defRPr>
                <a:solidFill>
                  <a:schemeClr val="accent1"/>
                </a:solidFill>
                <a:latin typeface="Roboto" panose="02000000000000000000" pitchFamily="2" charset="0"/>
                <a:ea typeface="Roboto" panose="02000000000000000000" pitchFamily="2" charset="0"/>
              </a:defRPr>
            </a:lvl5pPr>
          </a:lstStyle>
          <a:p>
            <a:pPr lvl="0"/>
            <a:r>
              <a:rPr lang="en-US" dirty="0"/>
              <a:t>Item 02</a:t>
            </a:r>
            <a:endParaRPr dirty="0"/>
          </a:p>
        </p:txBody>
      </p:sp>
      <p:grpSp>
        <p:nvGrpSpPr>
          <p:cNvPr id="28" name="Graphic 6">
            <a:extLst>
              <a:ext uri="{FF2B5EF4-FFF2-40B4-BE49-F238E27FC236}">
                <a16:creationId xmlns:a16="http://schemas.microsoft.com/office/drawing/2014/main" id="{A221CF27-DDCB-485E-8AF0-06F88AD51324}"/>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9" name="Freeform: Shape 28">
              <a:extLst>
                <a:ext uri="{FF2B5EF4-FFF2-40B4-BE49-F238E27FC236}">
                  <a16:creationId xmlns:a16="http://schemas.microsoft.com/office/drawing/2014/main" id="{4271A1EB-13FA-48ED-B12F-A314BCBF7CB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0" name="Freeform: Shape 29">
              <a:extLst>
                <a:ext uri="{FF2B5EF4-FFF2-40B4-BE49-F238E27FC236}">
                  <a16:creationId xmlns:a16="http://schemas.microsoft.com/office/drawing/2014/main" id="{48658B06-C890-41AA-ACAC-CEEF5FBA2FAC}"/>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8" name="Title 10">
            <a:extLst>
              <a:ext uri="{FF2B5EF4-FFF2-40B4-BE49-F238E27FC236}">
                <a16:creationId xmlns:a16="http://schemas.microsoft.com/office/drawing/2014/main" id="{5B5B8481-91CE-4875-A83E-68251C33B3AD}"/>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Infinity infographic</a:t>
            </a:r>
          </a:p>
        </p:txBody>
      </p:sp>
    </p:spTree>
    <p:extLst>
      <p:ext uri="{BB962C8B-B14F-4D97-AF65-F5344CB8AC3E}">
        <p14:creationId xmlns:p14="http://schemas.microsoft.com/office/powerpoint/2010/main" val="2918693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29" name="Picture Placeholder 27">
            <a:extLst>
              <a:ext uri="{FF2B5EF4-FFF2-40B4-BE49-F238E27FC236}">
                <a16:creationId xmlns:a16="http://schemas.microsoft.com/office/drawing/2014/main" id="{2B337F0C-BAF8-AA43-9CF2-408689C2A86D}"/>
              </a:ext>
            </a:extLst>
          </p:cNvPr>
          <p:cNvSpPr>
            <a:spLocks noGrp="1"/>
          </p:cNvSpPr>
          <p:nvPr>
            <p:ph type="pic" sz="quarter" idx="15" hasCustomPrompt="1"/>
          </p:nvPr>
        </p:nvSpPr>
        <p:spPr>
          <a:xfrm>
            <a:off x="6080087" y="1801506"/>
            <a:ext cx="1619869" cy="4181605"/>
          </a:xfrm>
          <a:prstGeom prst="rect">
            <a:avLst/>
          </a:prstGeom>
          <a:solidFill>
            <a:schemeClr val="bg2"/>
          </a:solidFill>
          <a:ln>
            <a:noFill/>
          </a:ln>
        </p:spPr>
        <p:txBody>
          <a:bodyPr anchor="ctr"/>
          <a:lstStyle>
            <a:lvl1pPr marL="0" indent="0" algn="ctr">
              <a:buNone/>
              <a:defRPr sz="1867">
                <a:solidFill>
                  <a:schemeClr val="tx2"/>
                </a:solidFill>
                <a:latin typeface="+mn-lt"/>
              </a:defRPr>
            </a:lvl1pPr>
          </a:lstStyle>
          <a:p>
            <a:r>
              <a:rPr lang="nl-BE" dirty="0"/>
              <a:t>Picture B</a:t>
            </a:r>
            <a:endParaRPr dirty="0"/>
          </a:p>
        </p:txBody>
      </p:sp>
      <p:sp>
        <p:nvSpPr>
          <p:cNvPr id="30" name="Picture Placeholder 27">
            <a:extLst>
              <a:ext uri="{FF2B5EF4-FFF2-40B4-BE49-F238E27FC236}">
                <a16:creationId xmlns:a16="http://schemas.microsoft.com/office/drawing/2014/main" id="{31CA6B8B-008F-9648-8A9B-4095AAABAF0A}"/>
              </a:ext>
            </a:extLst>
          </p:cNvPr>
          <p:cNvSpPr>
            <a:spLocks noGrp="1"/>
          </p:cNvSpPr>
          <p:nvPr>
            <p:ph type="pic" sz="quarter" idx="16" hasCustomPrompt="1"/>
          </p:nvPr>
        </p:nvSpPr>
        <p:spPr>
          <a:xfrm>
            <a:off x="4457539" y="1801506"/>
            <a:ext cx="1619869" cy="4181605"/>
          </a:xfrm>
          <a:prstGeom prst="rect">
            <a:avLst/>
          </a:prstGeom>
          <a:solidFill>
            <a:schemeClr val="bg2"/>
          </a:solidFill>
          <a:ln>
            <a:noFill/>
          </a:ln>
        </p:spPr>
        <p:txBody>
          <a:bodyPr anchor="ctr"/>
          <a:lstStyle>
            <a:lvl1pPr marL="0" indent="0" algn="ctr">
              <a:buNone/>
              <a:defRPr sz="1867">
                <a:solidFill>
                  <a:schemeClr val="tx2"/>
                </a:solidFill>
                <a:latin typeface="+mn-lt"/>
              </a:defRPr>
            </a:lvl1pPr>
          </a:lstStyle>
          <a:p>
            <a:r>
              <a:rPr lang="nl-BE" dirty="0"/>
              <a:t>Picture A</a:t>
            </a:r>
            <a:endParaRPr dirty="0"/>
          </a:p>
        </p:txBody>
      </p:sp>
      <p:sp>
        <p:nvSpPr>
          <p:cNvPr id="10" name="Shape 439">
            <a:extLst>
              <a:ext uri="{FF2B5EF4-FFF2-40B4-BE49-F238E27FC236}">
                <a16:creationId xmlns:a16="http://schemas.microsoft.com/office/drawing/2014/main" id="{26357162-A6AF-A24A-B7A0-9FF017B051AF}"/>
              </a:ext>
            </a:extLst>
          </p:cNvPr>
          <p:cNvSpPr/>
          <p:nvPr userDrawn="1"/>
        </p:nvSpPr>
        <p:spPr>
          <a:xfrm>
            <a:off x="1165734" y="1847970"/>
            <a:ext cx="3244039" cy="389145"/>
          </a:xfrm>
          <a:custGeom>
            <a:avLst/>
            <a:gdLst/>
            <a:ahLst/>
            <a:cxnLst>
              <a:cxn ang="0">
                <a:pos x="wd2" y="hd2"/>
              </a:cxn>
              <a:cxn ang="5400000">
                <a:pos x="wd2" y="hd2"/>
              </a:cxn>
              <a:cxn ang="10800000">
                <a:pos x="wd2" y="hd2"/>
              </a:cxn>
              <a:cxn ang="16200000">
                <a:pos x="wd2" y="hd2"/>
              </a:cxn>
            </a:cxnLst>
            <a:rect l="0" t="0" r="r" b="b"/>
            <a:pathLst>
              <a:path w="21600" h="21435" extrusionOk="0">
                <a:moveTo>
                  <a:pt x="0" y="18"/>
                </a:moveTo>
                <a:cubicBezTo>
                  <a:pt x="2078" y="33"/>
                  <a:pt x="4156" y="33"/>
                  <a:pt x="6233" y="18"/>
                </a:cubicBezTo>
                <a:cubicBezTo>
                  <a:pt x="7272" y="11"/>
                  <a:pt x="8311" y="1"/>
                  <a:pt x="9350" y="18"/>
                </a:cubicBezTo>
                <a:cubicBezTo>
                  <a:pt x="9869" y="27"/>
                  <a:pt x="10389" y="44"/>
                  <a:pt x="10908" y="18"/>
                </a:cubicBezTo>
                <a:cubicBezTo>
                  <a:pt x="11168" y="6"/>
                  <a:pt x="11428" y="-17"/>
                  <a:pt x="11687" y="18"/>
                </a:cubicBezTo>
                <a:cubicBezTo>
                  <a:pt x="11959" y="56"/>
                  <a:pt x="12235" y="164"/>
                  <a:pt x="12483" y="897"/>
                </a:cubicBezTo>
                <a:cubicBezTo>
                  <a:pt x="12803" y="1839"/>
                  <a:pt x="13033" y="3667"/>
                  <a:pt x="13270" y="5364"/>
                </a:cubicBezTo>
                <a:cubicBezTo>
                  <a:pt x="13528" y="7209"/>
                  <a:pt x="13804" y="8940"/>
                  <a:pt x="14073" y="10710"/>
                </a:cubicBezTo>
                <a:cubicBezTo>
                  <a:pt x="14343" y="12479"/>
                  <a:pt x="14606" y="14289"/>
                  <a:pt x="14876" y="16055"/>
                </a:cubicBezTo>
                <a:cubicBezTo>
                  <a:pt x="15122" y="17661"/>
                  <a:pt x="15377" y="19247"/>
                  <a:pt x="15690" y="20199"/>
                </a:cubicBezTo>
                <a:cubicBezTo>
                  <a:pt x="16146" y="21583"/>
                  <a:pt x="16660" y="21457"/>
                  <a:pt x="17160" y="21401"/>
                </a:cubicBezTo>
                <a:cubicBezTo>
                  <a:pt x="17653" y="21345"/>
                  <a:pt x="18147" y="21379"/>
                  <a:pt x="18640" y="21401"/>
                </a:cubicBezTo>
                <a:cubicBezTo>
                  <a:pt x="19627" y="21446"/>
                  <a:pt x="20613" y="21446"/>
                  <a:pt x="21600" y="21401"/>
                </a:cubicBezTo>
              </a:path>
            </a:pathLst>
          </a:custGeom>
          <a:ln w="19050">
            <a:solidFill>
              <a:srgbClr val="ED8B02"/>
            </a:solidFill>
            <a:prstDash val="dash"/>
            <a:miter lim="400000"/>
          </a:ln>
        </p:spPr>
        <p:txBody>
          <a:bodyPr lIns="67733" tIns="67733" rIns="67733" bIns="67733" anchor="ctr"/>
          <a:lstStyle/>
          <a:p>
            <a:pPr algn="ctr">
              <a:defRPr sz="3200" baseline="0">
                <a:solidFill>
                  <a:srgbClr val="000000"/>
                </a:solidFill>
                <a:latin typeface="Helvetica Light"/>
                <a:ea typeface="Helvetica Light"/>
                <a:cs typeface="Helvetica Light"/>
                <a:sym typeface="Helvetica Light"/>
              </a:defRPr>
            </a:pPr>
            <a:endParaRPr sz="2133" dirty="0">
              <a:latin typeface="Crank 8 Plus Two" panose="02000506030000020004" pitchFamily="50" charset="0"/>
              <a:ea typeface="Roboto" panose="02000000000000000000" pitchFamily="2" charset="0"/>
              <a:cs typeface="Roboto" panose="02000000000000000000" pitchFamily="2" charset="0"/>
            </a:endParaRPr>
          </a:p>
        </p:txBody>
      </p:sp>
      <p:sp>
        <p:nvSpPr>
          <p:cNvPr id="11" name="Shape 440">
            <a:extLst>
              <a:ext uri="{FF2B5EF4-FFF2-40B4-BE49-F238E27FC236}">
                <a16:creationId xmlns:a16="http://schemas.microsoft.com/office/drawing/2014/main" id="{91672842-19E1-DE4D-8BF6-79A752858C05}"/>
              </a:ext>
            </a:extLst>
          </p:cNvPr>
          <p:cNvSpPr/>
          <p:nvPr userDrawn="1"/>
        </p:nvSpPr>
        <p:spPr>
          <a:xfrm>
            <a:off x="7834047" y="1847970"/>
            <a:ext cx="3107735" cy="389145"/>
          </a:xfrm>
          <a:custGeom>
            <a:avLst/>
            <a:gdLst/>
            <a:ahLst/>
            <a:cxnLst>
              <a:cxn ang="0">
                <a:pos x="wd2" y="hd2"/>
              </a:cxn>
              <a:cxn ang="5400000">
                <a:pos x="wd2" y="hd2"/>
              </a:cxn>
              <a:cxn ang="10800000">
                <a:pos x="wd2" y="hd2"/>
              </a:cxn>
              <a:cxn ang="16200000">
                <a:pos x="wd2" y="hd2"/>
              </a:cxn>
            </a:cxnLst>
            <a:rect l="0" t="0" r="r" b="b"/>
            <a:pathLst>
              <a:path w="21600" h="21435" extrusionOk="0">
                <a:moveTo>
                  <a:pt x="21600" y="18"/>
                </a:moveTo>
                <a:cubicBezTo>
                  <a:pt x="19522" y="33"/>
                  <a:pt x="17444" y="33"/>
                  <a:pt x="15367" y="18"/>
                </a:cubicBezTo>
                <a:cubicBezTo>
                  <a:pt x="14328" y="11"/>
                  <a:pt x="13289" y="1"/>
                  <a:pt x="12250" y="18"/>
                </a:cubicBezTo>
                <a:cubicBezTo>
                  <a:pt x="11731" y="27"/>
                  <a:pt x="11211" y="44"/>
                  <a:pt x="10692" y="18"/>
                </a:cubicBezTo>
                <a:cubicBezTo>
                  <a:pt x="10432" y="6"/>
                  <a:pt x="10172" y="-17"/>
                  <a:pt x="9913" y="18"/>
                </a:cubicBezTo>
                <a:cubicBezTo>
                  <a:pt x="9641" y="56"/>
                  <a:pt x="9365" y="164"/>
                  <a:pt x="9117" y="897"/>
                </a:cubicBezTo>
                <a:cubicBezTo>
                  <a:pt x="8797" y="1839"/>
                  <a:pt x="8567" y="3667"/>
                  <a:pt x="8330" y="5364"/>
                </a:cubicBezTo>
                <a:cubicBezTo>
                  <a:pt x="8072" y="7209"/>
                  <a:pt x="7796" y="8940"/>
                  <a:pt x="7527" y="10710"/>
                </a:cubicBezTo>
                <a:cubicBezTo>
                  <a:pt x="7257" y="12479"/>
                  <a:pt x="6994" y="14289"/>
                  <a:pt x="6724" y="16055"/>
                </a:cubicBezTo>
                <a:cubicBezTo>
                  <a:pt x="6478" y="17661"/>
                  <a:pt x="6223" y="19247"/>
                  <a:pt x="5910" y="20199"/>
                </a:cubicBezTo>
                <a:cubicBezTo>
                  <a:pt x="5454" y="21583"/>
                  <a:pt x="4940" y="21457"/>
                  <a:pt x="4440" y="21401"/>
                </a:cubicBezTo>
                <a:cubicBezTo>
                  <a:pt x="3947" y="21345"/>
                  <a:pt x="3453" y="21379"/>
                  <a:pt x="2960" y="21401"/>
                </a:cubicBezTo>
                <a:cubicBezTo>
                  <a:pt x="1973" y="21446"/>
                  <a:pt x="987" y="21446"/>
                  <a:pt x="0" y="21401"/>
                </a:cubicBezTo>
              </a:path>
            </a:pathLst>
          </a:custGeom>
          <a:ln w="19050">
            <a:solidFill>
              <a:srgbClr val="991E66"/>
            </a:solidFill>
            <a:prstDash val="dash"/>
            <a:miter lim="400000"/>
          </a:ln>
        </p:spPr>
        <p:txBody>
          <a:bodyPr lIns="67733" tIns="67733" rIns="67733" bIns="67733" anchor="ctr"/>
          <a:lstStyle/>
          <a:p>
            <a:pPr algn="ctr">
              <a:defRPr sz="3200" baseline="0">
                <a:solidFill>
                  <a:srgbClr val="000000"/>
                </a:solidFill>
                <a:latin typeface="Helvetica Light"/>
                <a:ea typeface="Helvetica Light"/>
                <a:cs typeface="Helvetica Light"/>
                <a:sym typeface="Helvetica Light"/>
              </a:defRPr>
            </a:pPr>
            <a:endParaRPr sz="2133" dirty="0">
              <a:latin typeface="Crank 8 Plus Two" panose="02000506030000020004" pitchFamily="50" charset="0"/>
              <a:ea typeface="Roboto" panose="02000000000000000000" pitchFamily="2" charset="0"/>
              <a:cs typeface="Roboto" panose="02000000000000000000" pitchFamily="2" charset="0"/>
            </a:endParaRPr>
          </a:p>
        </p:txBody>
      </p:sp>
      <p:sp>
        <p:nvSpPr>
          <p:cNvPr id="18" name="Oval 11">
            <a:extLst>
              <a:ext uri="{FF2B5EF4-FFF2-40B4-BE49-F238E27FC236}">
                <a16:creationId xmlns:a16="http://schemas.microsoft.com/office/drawing/2014/main" id="{26D1B48C-8D0E-6443-92F0-CD2AC0B2DE7D}"/>
              </a:ext>
            </a:extLst>
          </p:cNvPr>
          <p:cNvSpPr/>
          <p:nvPr userDrawn="1"/>
        </p:nvSpPr>
        <p:spPr>
          <a:xfrm>
            <a:off x="3854729" y="1969489"/>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2133" b="1" dirty="0">
                <a:solidFill>
                  <a:schemeClr val="bg1"/>
                </a:solidFill>
                <a:latin typeface="Crank 8 Plus Two" panose="02000506030000020004" pitchFamily="50" charset="0"/>
                <a:ea typeface="Roboto" charset="0"/>
                <a:cs typeface="Roboto" charset="0"/>
              </a:rPr>
              <a:t>A</a:t>
            </a:r>
            <a:endParaRPr sz="2133" b="1" dirty="0">
              <a:solidFill>
                <a:schemeClr val="bg1"/>
              </a:solidFill>
              <a:latin typeface="Crank 8 Plus Two" panose="02000506030000020004" pitchFamily="50" charset="0"/>
              <a:ea typeface="Roboto" charset="0"/>
              <a:cs typeface="Roboto" charset="0"/>
            </a:endParaRPr>
          </a:p>
        </p:txBody>
      </p:sp>
      <p:sp>
        <p:nvSpPr>
          <p:cNvPr id="19" name="Oval 11">
            <a:extLst>
              <a:ext uri="{FF2B5EF4-FFF2-40B4-BE49-F238E27FC236}">
                <a16:creationId xmlns:a16="http://schemas.microsoft.com/office/drawing/2014/main" id="{0B4B52DF-872C-9A40-9102-B2427F6C489B}"/>
              </a:ext>
            </a:extLst>
          </p:cNvPr>
          <p:cNvSpPr/>
          <p:nvPr userDrawn="1"/>
        </p:nvSpPr>
        <p:spPr>
          <a:xfrm>
            <a:off x="7737455" y="1969489"/>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991E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2133" b="1" dirty="0">
                <a:solidFill>
                  <a:schemeClr val="bg1"/>
                </a:solidFill>
                <a:latin typeface="Crank 8 Plus Two" panose="02000506030000020004" pitchFamily="50" charset="0"/>
                <a:ea typeface="Roboto" charset="0"/>
                <a:cs typeface="Roboto" charset="0"/>
              </a:rPr>
              <a:t>B</a:t>
            </a:r>
            <a:endParaRPr sz="2133" b="1" dirty="0">
              <a:solidFill>
                <a:schemeClr val="bg1"/>
              </a:solidFill>
              <a:latin typeface="Crank 8 Plus Two" panose="02000506030000020004" pitchFamily="50" charset="0"/>
              <a:ea typeface="Roboto" charset="0"/>
              <a:cs typeface="Roboto" charset="0"/>
            </a:endParaRPr>
          </a:p>
        </p:txBody>
      </p:sp>
      <p:sp>
        <p:nvSpPr>
          <p:cNvPr id="23" name="Text Placeholder 22">
            <a:extLst>
              <a:ext uri="{FF2B5EF4-FFF2-40B4-BE49-F238E27FC236}">
                <a16:creationId xmlns:a16="http://schemas.microsoft.com/office/drawing/2014/main" id="{5AA0CD83-659D-F74B-8038-208450A32B1E}"/>
              </a:ext>
            </a:extLst>
          </p:cNvPr>
          <p:cNvSpPr>
            <a:spLocks noGrp="1"/>
          </p:cNvSpPr>
          <p:nvPr>
            <p:ph type="body" sz="quarter" idx="10" hasCustomPrompt="1"/>
          </p:nvPr>
        </p:nvSpPr>
        <p:spPr>
          <a:xfrm>
            <a:off x="523200" y="1321409"/>
            <a:ext cx="3409099" cy="480097"/>
          </a:xfrm>
          <a:prstGeom prst="rect">
            <a:avLst/>
          </a:prstGeom>
        </p:spPr>
        <p:txBody>
          <a:bodyPr/>
          <a:lstStyle>
            <a:lvl1pPr marL="0" indent="0" algn="ctr">
              <a:buNone/>
              <a:defRPr sz="2667" b="1">
                <a:solidFill>
                  <a:schemeClr val="accent1"/>
                </a:solidFill>
                <a:latin typeface="Crank 8 Plus Two" panose="02000506030000020004" pitchFamily="50" charset="0"/>
                <a:ea typeface="Roboto" panose="02000000000000000000" pitchFamily="2" charset="0"/>
              </a:defRPr>
            </a:lvl1pPr>
          </a:lstStyle>
          <a:p>
            <a:pPr lvl="0"/>
            <a:r>
              <a:rPr lang="en-US" dirty="0"/>
              <a:t>Edit title A</a:t>
            </a:r>
          </a:p>
        </p:txBody>
      </p:sp>
      <p:sp>
        <p:nvSpPr>
          <p:cNvPr id="24" name="Text Placeholder 22">
            <a:extLst>
              <a:ext uri="{FF2B5EF4-FFF2-40B4-BE49-F238E27FC236}">
                <a16:creationId xmlns:a16="http://schemas.microsoft.com/office/drawing/2014/main" id="{7C896988-DFB6-794D-9CF0-E6585D351A62}"/>
              </a:ext>
            </a:extLst>
          </p:cNvPr>
          <p:cNvSpPr>
            <a:spLocks noGrp="1"/>
          </p:cNvSpPr>
          <p:nvPr>
            <p:ph type="body" sz="quarter" idx="11" hasCustomPrompt="1"/>
          </p:nvPr>
        </p:nvSpPr>
        <p:spPr>
          <a:xfrm>
            <a:off x="8259704" y="1321409"/>
            <a:ext cx="3409099" cy="480097"/>
          </a:xfrm>
          <a:prstGeom prst="rect">
            <a:avLst/>
          </a:prstGeom>
        </p:spPr>
        <p:txBody>
          <a:bodyPr/>
          <a:lstStyle>
            <a:lvl1pPr marL="0" indent="0" algn="ctr">
              <a:buNone/>
              <a:defRPr sz="2667" b="1">
                <a:solidFill>
                  <a:srgbClr val="991E66"/>
                </a:solidFill>
                <a:latin typeface="Crank 8 Plus Two" panose="02000506030000020004" pitchFamily="50" charset="0"/>
                <a:ea typeface="Roboto" panose="02000000000000000000" pitchFamily="2" charset="0"/>
              </a:defRPr>
            </a:lvl1pPr>
          </a:lstStyle>
          <a:p>
            <a:pPr lvl="0"/>
            <a:r>
              <a:rPr lang="en-US" dirty="0"/>
              <a:t>Edit title B</a:t>
            </a:r>
          </a:p>
        </p:txBody>
      </p:sp>
      <p:sp>
        <p:nvSpPr>
          <p:cNvPr id="25" name="Text Placeholder 22">
            <a:extLst>
              <a:ext uri="{FF2B5EF4-FFF2-40B4-BE49-F238E27FC236}">
                <a16:creationId xmlns:a16="http://schemas.microsoft.com/office/drawing/2014/main" id="{5E23B151-00A2-FA4E-A71D-BD1B07BD4C11}"/>
              </a:ext>
            </a:extLst>
          </p:cNvPr>
          <p:cNvSpPr>
            <a:spLocks noGrp="1"/>
          </p:cNvSpPr>
          <p:nvPr>
            <p:ph type="body" sz="quarter" idx="12" hasCustomPrompt="1"/>
          </p:nvPr>
        </p:nvSpPr>
        <p:spPr>
          <a:xfrm>
            <a:off x="523200" y="2637734"/>
            <a:ext cx="3409099" cy="3569093"/>
          </a:xfrm>
          <a:prstGeom prst="rect">
            <a:avLst/>
          </a:prstGeom>
        </p:spPr>
        <p:txBody>
          <a:bodyPr/>
          <a:lstStyle>
            <a:lvl1pPr marL="190495" indent="-190495" algn="l">
              <a:buClr>
                <a:schemeClr val="accent1"/>
              </a:buClr>
              <a:buFont typeface="Arial" panose="020B0604020202020204" pitchFamily="34" charset="0"/>
              <a:buChar char="•"/>
              <a:defRPr sz="1867" b="0">
                <a:solidFill>
                  <a:schemeClr val="tx2"/>
                </a:solidFill>
                <a:latin typeface="+mn-lt"/>
                <a:ea typeface="Roboto" panose="02000000000000000000" pitchFamily="2" charset="0"/>
              </a:defRPr>
            </a:lvl1pPr>
          </a:lstStyle>
          <a:p>
            <a:pPr lvl="0"/>
            <a:r>
              <a:rPr lang="en-US" dirty="0"/>
              <a:t>Item 01</a:t>
            </a:r>
          </a:p>
          <a:p>
            <a:pPr lvl="0"/>
            <a:endParaRPr lang="en-US" dirty="0"/>
          </a:p>
        </p:txBody>
      </p:sp>
      <p:sp>
        <p:nvSpPr>
          <p:cNvPr id="26" name="Text Placeholder 22">
            <a:extLst>
              <a:ext uri="{FF2B5EF4-FFF2-40B4-BE49-F238E27FC236}">
                <a16:creationId xmlns:a16="http://schemas.microsoft.com/office/drawing/2014/main" id="{04CE2F37-5FCC-E749-B52B-6BE71075D002}"/>
              </a:ext>
            </a:extLst>
          </p:cNvPr>
          <p:cNvSpPr>
            <a:spLocks noGrp="1"/>
          </p:cNvSpPr>
          <p:nvPr>
            <p:ph type="body" sz="quarter" idx="13" hasCustomPrompt="1"/>
          </p:nvPr>
        </p:nvSpPr>
        <p:spPr>
          <a:xfrm>
            <a:off x="8259704" y="2637734"/>
            <a:ext cx="3409099" cy="3569093"/>
          </a:xfrm>
          <a:prstGeom prst="rect">
            <a:avLst/>
          </a:prstGeom>
        </p:spPr>
        <p:txBody>
          <a:bodyPr/>
          <a:lstStyle>
            <a:lvl1pPr marL="190495" indent="-190495" algn="l">
              <a:buClr>
                <a:srgbClr val="991E66"/>
              </a:buClr>
              <a:buFont typeface="Arial" panose="020B0604020202020204" pitchFamily="34" charset="0"/>
              <a:buChar char="•"/>
              <a:defRPr sz="1867" b="0">
                <a:solidFill>
                  <a:schemeClr val="tx2"/>
                </a:solidFill>
                <a:latin typeface="+mn-lt"/>
                <a:ea typeface="Roboto" panose="02000000000000000000" pitchFamily="2" charset="0"/>
              </a:defRPr>
            </a:lvl1pPr>
          </a:lstStyle>
          <a:p>
            <a:pPr lvl="0"/>
            <a:r>
              <a:rPr lang="en-US" dirty="0"/>
              <a:t>Item 01</a:t>
            </a:r>
          </a:p>
          <a:p>
            <a:pPr lvl="0"/>
            <a:endParaRPr lang="en-US" dirty="0"/>
          </a:p>
        </p:txBody>
      </p:sp>
      <p:grpSp>
        <p:nvGrpSpPr>
          <p:cNvPr id="31" name="Graphic 6">
            <a:extLst>
              <a:ext uri="{FF2B5EF4-FFF2-40B4-BE49-F238E27FC236}">
                <a16:creationId xmlns:a16="http://schemas.microsoft.com/office/drawing/2014/main" id="{30C0576A-2E49-445F-B9FB-65BF08FFBE08}"/>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2" name="Freeform: Shape 31">
              <a:extLst>
                <a:ext uri="{FF2B5EF4-FFF2-40B4-BE49-F238E27FC236}">
                  <a16:creationId xmlns:a16="http://schemas.microsoft.com/office/drawing/2014/main" id="{E656B463-57A6-4FD6-AB58-AD85B3DB6CA3}"/>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3" name="Freeform: Shape 32">
              <a:extLst>
                <a:ext uri="{FF2B5EF4-FFF2-40B4-BE49-F238E27FC236}">
                  <a16:creationId xmlns:a16="http://schemas.microsoft.com/office/drawing/2014/main" id="{1CAA39D4-712F-4B35-9BF1-06329B4FB14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6" name="Title 10">
            <a:extLst>
              <a:ext uri="{FF2B5EF4-FFF2-40B4-BE49-F238E27FC236}">
                <a16:creationId xmlns:a16="http://schemas.microsoft.com/office/drawing/2014/main" id="{284EB8F2-EDB1-4C54-9808-5A10E7A8C863}"/>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Comparison</a:t>
            </a:r>
          </a:p>
        </p:txBody>
      </p:sp>
    </p:spTree>
    <p:extLst>
      <p:ext uri="{BB962C8B-B14F-4D97-AF65-F5344CB8AC3E}">
        <p14:creationId xmlns:p14="http://schemas.microsoft.com/office/powerpoint/2010/main" val="115953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940167D5-6D30-FC4B-B383-11FC9F7B48CB}"/>
              </a:ext>
            </a:extLst>
          </p:cNvPr>
          <p:cNvSpPr/>
          <p:nvPr userDrawn="1"/>
        </p:nvSpPr>
        <p:spPr>
          <a:xfrm>
            <a:off x="6076824" y="1224099"/>
            <a:ext cx="168893" cy="168893"/>
          </a:xfrm>
          <a:prstGeom prst="ellips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dirty="0">
              <a:latin typeface="+mn-lt"/>
            </a:endParaRPr>
          </a:p>
        </p:txBody>
      </p:sp>
      <p:cxnSp>
        <p:nvCxnSpPr>
          <p:cNvPr id="4" name="Straight Connector 3">
            <a:extLst>
              <a:ext uri="{FF2B5EF4-FFF2-40B4-BE49-F238E27FC236}">
                <a16:creationId xmlns:a16="http://schemas.microsoft.com/office/drawing/2014/main" id="{2932B4B0-7768-5C43-B7FA-F3E4E41C688C}"/>
              </a:ext>
            </a:extLst>
          </p:cNvPr>
          <p:cNvCxnSpPr/>
          <p:nvPr userDrawn="1"/>
        </p:nvCxnSpPr>
        <p:spPr>
          <a:xfrm>
            <a:off x="6142797" y="1465922"/>
            <a:ext cx="0" cy="936997"/>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5" name="Elbow Connector 4">
            <a:extLst>
              <a:ext uri="{FF2B5EF4-FFF2-40B4-BE49-F238E27FC236}">
                <a16:creationId xmlns:a16="http://schemas.microsoft.com/office/drawing/2014/main" id="{541B374B-E321-254B-B492-F9CD7618C723}"/>
              </a:ext>
            </a:extLst>
          </p:cNvPr>
          <p:cNvCxnSpPr/>
          <p:nvPr userDrawn="1"/>
        </p:nvCxnSpPr>
        <p:spPr>
          <a:xfrm>
            <a:off x="3325250" y="2196738"/>
            <a:ext cx="2848359" cy="786581"/>
          </a:xfrm>
          <a:prstGeom prst="bentConnector3">
            <a:avLst/>
          </a:prstGeom>
          <a:ln w="19050">
            <a:solidFill>
              <a:srgbClr val="ED8B02"/>
            </a:solidFill>
            <a:prstDash val="solid"/>
          </a:ln>
        </p:spPr>
        <p:style>
          <a:lnRef idx="1">
            <a:schemeClr val="accent1"/>
          </a:lnRef>
          <a:fillRef idx="0">
            <a:schemeClr val="accent1"/>
          </a:fillRef>
          <a:effectRef idx="0">
            <a:schemeClr val="accent1"/>
          </a:effectRef>
          <a:fontRef idx="minor">
            <a:schemeClr val="tx1"/>
          </a:fontRef>
        </p:style>
      </p:cxnSp>
      <p:sp>
        <p:nvSpPr>
          <p:cNvPr id="6" name="Oval 11">
            <a:extLst>
              <a:ext uri="{FF2B5EF4-FFF2-40B4-BE49-F238E27FC236}">
                <a16:creationId xmlns:a16="http://schemas.microsoft.com/office/drawing/2014/main" id="{A5A03C72-D8F6-664E-87CC-DD6B133A1BAC}"/>
              </a:ext>
            </a:extLst>
          </p:cNvPr>
          <p:cNvSpPr/>
          <p:nvPr userDrawn="1"/>
        </p:nvSpPr>
        <p:spPr>
          <a:xfrm>
            <a:off x="1929702" y="1378775"/>
            <a:ext cx="1656425" cy="1668099"/>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744">
                <a:moveTo>
                  <a:pt x="0" y="277239"/>
                </a:moveTo>
                <a:cubicBezTo>
                  <a:pt x="0" y="128446"/>
                  <a:pt x="149165" y="0"/>
                  <a:pt x="306421" y="0"/>
                </a:cubicBezTo>
                <a:cubicBezTo>
                  <a:pt x="463677" y="0"/>
                  <a:pt x="608720" y="86626"/>
                  <a:pt x="632298" y="277238"/>
                </a:cubicBezTo>
                <a:cubicBezTo>
                  <a:pt x="632298" y="424980"/>
                  <a:pt x="519909" y="579337"/>
                  <a:pt x="306421" y="583660"/>
                </a:cubicBezTo>
                <a:cubicBezTo>
                  <a:pt x="92933" y="587983"/>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0" rIns="144000" rtlCol="0" anchor="ctr"/>
          <a:lstStyle/>
          <a:p>
            <a:pPr algn="ctr"/>
            <a:endParaRPr lang="nl-BE" sz="3200" b="1" dirty="0">
              <a:solidFill>
                <a:schemeClr val="accent1"/>
              </a:solidFill>
              <a:latin typeface="+mn-lt"/>
              <a:ea typeface="Roboto" panose="02000000000000000000" pitchFamily="2" charset="0"/>
              <a:cs typeface="Roboto" panose="02000000000000000000" pitchFamily="2" charset="0"/>
            </a:endParaRPr>
          </a:p>
        </p:txBody>
      </p:sp>
      <p:grpSp>
        <p:nvGrpSpPr>
          <p:cNvPr id="7" name="Group 6">
            <a:extLst>
              <a:ext uri="{FF2B5EF4-FFF2-40B4-BE49-F238E27FC236}">
                <a16:creationId xmlns:a16="http://schemas.microsoft.com/office/drawing/2014/main" id="{B6E79991-D391-A143-963A-D05957709BD0}"/>
              </a:ext>
            </a:extLst>
          </p:cNvPr>
          <p:cNvGrpSpPr/>
          <p:nvPr userDrawn="1"/>
        </p:nvGrpSpPr>
        <p:grpSpPr>
          <a:xfrm>
            <a:off x="6152161" y="2986817"/>
            <a:ext cx="3185680" cy="1277400"/>
            <a:chOff x="4614121" y="2434890"/>
            <a:chExt cx="2389260" cy="958050"/>
          </a:xfrm>
        </p:grpSpPr>
        <p:cxnSp>
          <p:nvCxnSpPr>
            <p:cNvPr id="8" name="Elbow Connector 7">
              <a:extLst>
                <a:ext uri="{FF2B5EF4-FFF2-40B4-BE49-F238E27FC236}">
                  <a16:creationId xmlns:a16="http://schemas.microsoft.com/office/drawing/2014/main" id="{EC511A8D-5A7E-F748-9206-4D533C486D4E}"/>
                </a:ext>
              </a:extLst>
            </p:cNvPr>
            <p:cNvCxnSpPr/>
            <p:nvPr/>
          </p:nvCxnSpPr>
          <p:spPr>
            <a:xfrm flipV="1">
              <a:off x="4614121" y="2443356"/>
              <a:ext cx="2389260" cy="949584"/>
            </a:xfrm>
            <a:prstGeom prst="bentConnector3">
              <a:avLst>
                <a:gd name="adj1" fmla="val 43976"/>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B328312-2A16-9544-B067-E2E59D507429}"/>
                </a:ext>
              </a:extLst>
            </p:cNvPr>
            <p:cNvCxnSpPr/>
            <p:nvPr/>
          </p:nvCxnSpPr>
          <p:spPr>
            <a:xfrm>
              <a:off x="6994915" y="2434890"/>
              <a:ext cx="0" cy="24651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0" name="AutoShape 12">
            <a:extLst>
              <a:ext uri="{FF2B5EF4-FFF2-40B4-BE49-F238E27FC236}">
                <a16:creationId xmlns:a16="http://schemas.microsoft.com/office/drawing/2014/main" id="{3A251269-A47B-8B48-B7F5-00DF669A894C}"/>
              </a:ext>
            </a:extLst>
          </p:cNvPr>
          <p:cNvSpPr>
            <a:spLocks/>
          </p:cNvSpPr>
          <p:nvPr userDrawn="1"/>
        </p:nvSpPr>
        <p:spPr bwMode="auto">
          <a:xfrm>
            <a:off x="5755801" y="3895871"/>
            <a:ext cx="809731" cy="80973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chemeClr val="accent3"/>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B7EDE6"/>
              </a:solidFill>
              <a:latin typeface="+mn-lt"/>
              <a:cs typeface="Roboto" panose="02000000000000000000" pitchFamily="2" charset="0"/>
              <a:sym typeface="Helvetica Light" charset="0"/>
            </a:endParaRPr>
          </a:p>
        </p:txBody>
      </p:sp>
      <p:sp>
        <p:nvSpPr>
          <p:cNvPr id="11" name="AutoShape 12">
            <a:extLst>
              <a:ext uri="{FF2B5EF4-FFF2-40B4-BE49-F238E27FC236}">
                <a16:creationId xmlns:a16="http://schemas.microsoft.com/office/drawing/2014/main" id="{DA4D1A96-C420-1F46-937F-92A346ABDF82}"/>
              </a:ext>
            </a:extLst>
          </p:cNvPr>
          <p:cNvSpPr>
            <a:spLocks/>
          </p:cNvSpPr>
          <p:nvPr userDrawn="1"/>
        </p:nvSpPr>
        <p:spPr bwMode="auto">
          <a:xfrm>
            <a:off x="5755801" y="2586732"/>
            <a:ext cx="809731" cy="80973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B7EDE6"/>
              </a:solidFill>
              <a:latin typeface="+mn-lt"/>
              <a:cs typeface="Roboto" panose="02000000000000000000" pitchFamily="2" charset="0"/>
              <a:sym typeface="Helvetica Light" charset="0"/>
            </a:endParaRPr>
          </a:p>
        </p:txBody>
      </p:sp>
      <p:cxnSp>
        <p:nvCxnSpPr>
          <p:cNvPr id="14" name="Straight Connector 13">
            <a:extLst>
              <a:ext uri="{FF2B5EF4-FFF2-40B4-BE49-F238E27FC236}">
                <a16:creationId xmlns:a16="http://schemas.microsoft.com/office/drawing/2014/main" id="{366346FD-1499-8848-BC08-A12B9E9ABF62}"/>
              </a:ext>
            </a:extLst>
          </p:cNvPr>
          <p:cNvCxnSpPr/>
          <p:nvPr userDrawn="1"/>
        </p:nvCxnSpPr>
        <p:spPr>
          <a:xfrm>
            <a:off x="6142797" y="3517081"/>
            <a:ext cx="0" cy="283771"/>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788C196-CDDE-F847-9832-5FDCFFCDE0DA}"/>
              </a:ext>
            </a:extLst>
          </p:cNvPr>
          <p:cNvCxnSpPr/>
          <p:nvPr userDrawn="1"/>
        </p:nvCxnSpPr>
        <p:spPr>
          <a:xfrm>
            <a:off x="6142797" y="4947729"/>
            <a:ext cx="0" cy="1650569"/>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16" name="Oval 11">
            <a:extLst>
              <a:ext uri="{FF2B5EF4-FFF2-40B4-BE49-F238E27FC236}">
                <a16:creationId xmlns:a16="http://schemas.microsoft.com/office/drawing/2014/main" id="{D85EDBA8-D211-8C4D-82C9-E63FE77543A6}"/>
              </a:ext>
            </a:extLst>
          </p:cNvPr>
          <p:cNvSpPr/>
          <p:nvPr userDrawn="1"/>
        </p:nvSpPr>
        <p:spPr>
          <a:xfrm>
            <a:off x="8515810" y="3304013"/>
            <a:ext cx="1656425" cy="1668099"/>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744">
                <a:moveTo>
                  <a:pt x="0" y="277239"/>
                </a:moveTo>
                <a:cubicBezTo>
                  <a:pt x="0" y="128446"/>
                  <a:pt x="149165" y="0"/>
                  <a:pt x="306421" y="0"/>
                </a:cubicBezTo>
                <a:cubicBezTo>
                  <a:pt x="463677" y="0"/>
                  <a:pt x="608720" y="86626"/>
                  <a:pt x="632298" y="277238"/>
                </a:cubicBezTo>
                <a:cubicBezTo>
                  <a:pt x="632298" y="424980"/>
                  <a:pt x="519909" y="579337"/>
                  <a:pt x="306421" y="583660"/>
                </a:cubicBezTo>
                <a:cubicBezTo>
                  <a:pt x="92933" y="587983"/>
                  <a:pt x="0" y="426032"/>
                  <a:pt x="0" y="277239"/>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0" rIns="144000" rtlCol="0" anchor="ctr"/>
          <a:lstStyle/>
          <a:p>
            <a:pPr algn="ctr"/>
            <a:endParaRPr lang="nl-BE" sz="3200" b="1" dirty="0">
              <a:solidFill>
                <a:schemeClr val="tx2"/>
              </a:solidFill>
              <a:latin typeface="+mn-lt"/>
              <a:ea typeface="Roboto" panose="02000000000000000000" pitchFamily="2" charset="0"/>
              <a:cs typeface="Roboto" panose="02000000000000000000" pitchFamily="2" charset="0"/>
            </a:endParaRPr>
          </a:p>
        </p:txBody>
      </p:sp>
      <p:sp>
        <p:nvSpPr>
          <p:cNvPr id="22" name="Text Placeholder 22">
            <a:extLst>
              <a:ext uri="{FF2B5EF4-FFF2-40B4-BE49-F238E27FC236}">
                <a16:creationId xmlns:a16="http://schemas.microsoft.com/office/drawing/2014/main" id="{2E9DF786-D769-884A-9C15-F3D4F3BDBB6A}"/>
              </a:ext>
            </a:extLst>
          </p:cNvPr>
          <p:cNvSpPr>
            <a:spLocks noGrp="1"/>
          </p:cNvSpPr>
          <p:nvPr>
            <p:ph type="body" sz="quarter" idx="10" hasCustomPrompt="1"/>
          </p:nvPr>
        </p:nvSpPr>
        <p:spPr>
          <a:xfrm>
            <a:off x="1929701" y="1957006"/>
            <a:ext cx="1656425" cy="480097"/>
          </a:xfrm>
          <a:prstGeom prst="rect">
            <a:avLst/>
          </a:prstGeom>
        </p:spPr>
        <p:txBody>
          <a:bodyPr/>
          <a:lstStyle>
            <a:lvl1pPr marL="0" indent="0" algn="ctr">
              <a:buNone/>
              <a:defRPr sz="2667" b="1">
                <a:solidFill>
                  <a:schemeClr val="bg1"/>
                </a:solidFill>
                <a:latin typeface="Crank 8 Plus Two" panose="02000506030000020004" pitchFamily="50" charset="0"/>
                <a:ea typeface="Roboto" panose="02000000000000000000" pitchFamily="2" charset="0"/>
              </a:defRPr>
            </a:lvl1pPr>
          </a:lstStyle>
          <a:p>
            <a:pPr lvl="0"/>
            <a:r>
              <a:rPr lang="en-US" dirty="0"/>
              <a:t>100</a:t>
            </a:r>
          </a:p>
        </p:txBody>
      </p:sp>
      <p:sp>
        <p:nvSpPr>
          <p:cNvPr id="23" name="Text Placeholder 22">
            <a:extLst>
              <a:ext uri="{FF2B5EF4-FFF2-40B4-BE49-F238E27FC236}">
                <a16:creationId xmlns:a16="http://schemas.microsoft.com/office/drawing/2014/main" id="{00E956FB-5C4E-B648-B78F-665AA42EF46E}"/>
              </a:ext>
            </a:extLst>
          </p:cNvPr>
          <p:cNvSpPr>
            <a:spLocks noGrp="1"/>
          </p:cNvSpPr>
          <p:nvPr>
            <p:ph type="body" sz="quarter" idx="11" hasCustomPrompt="1"/>
          </p:nvPr>
        </p:nvSpPr>
        <p:spPr>
          <a:xfrm>
            <a:off x="8515810" y="3905184"/>
            <a:ext cx="1656425" cy="480097"/>
          </a:xfrm>
          <a:prstGeom prst="rect">
            <a:avLst/>
          </a:prstGeom>
        </p:spPr>
        <p:txBody>
          <a:bodyPr/>
          <a:lstStyle>
            <a:lvl1pPr marL="0" indent="0" algn="ctr">
              <a:buNone/>
              <a:defRPr sz="2667" b="1">
                <a:solidFill>
                  <a:schemeClr val="bg1"/>
                </a:solidFill>
                <a:latin typeface="Crank 8 Plus Two" panose="02000506030000020004" pitchFamily="50" charset="0"/>
                <a:ea typeface="Roboto" panose="02000000000000000000" pitchFamily="2" charset="0"/>
              </a:defRPr>
            </a:lvl1pPr>
          </a:lstStyle>
          <a:p>
            <a:pPr lvl="0"/>
            <a:r>
              <a:rPr lang="en-US" dirty="0"/>
              <a:t>50</a:t>
            </a:r>
          </a:p>
        </p:txBody>
      </p:sp>
      <p:sp>
        <p:nvSpPr>
          <p:cNvPr id="26" name="Text Placeholder 22">
            <a:extLst>
              <a:ext uri="{FF2B5EF4-FFF2-40B4-BE49-F238E27FC236}">
                <a16:creationId xmlns:a16="http://schemas.microsoft.com/office/drawing/2014/main" id="{D8B3E52C-DEC8-124A-9721-95EF32A3C35C}"/>
              </a:ext>
            </a:extLst>
          </p:cNvPr>
          <p:cNvSpPr>
            <a:spLocks noGrp="1"/>
          </p:cNvSpPr>
          <p:nvPr>
            <p:ph type="body" sz="quarter" idx="12" hasCustomPrompt="1"/>
          </p:nvPr>
        </p:nvSpPr>
        <p:spPr>
          <a:xfrm>
            <a:off x="736610" y="3310485"/>
            <a:ext cx="4034717" cy="1195859"/>
          </a:xfrm>
          <a:prstGeom prst="rect">
            <a:avLst/>
          </a:prstGeom>
        </p:spPr>
        <p:txBody>
          <a:bodyPr/>
          <a:lstStyle>
            <a:lvl1pPr marL="0" indent="0" algn="ctr">
              <a:buClr>
                <a:schemeClr val="accent1"/>
              </a:buClr>
              <a:buFont typeface="AlNile-Bold"/>
              <a:buNone/>
              <a:defRPr sz="1867" b="0">
                <a:solidFill>
                  <a:schemeClr val="tx2"/>
                </a:solidFill>
                <a:latin typeface="+mn-lt"/>
                <a:ea typeface="Roboto" panose="02000000000000000000" pitchFamily="2" charset="0"/>
              </a:defRPr>
            </a:lvl1pPr>
          </a:lstStyle>
          <a:p>
            <a:pPr lvl="0"/>
            <a:r>
              <a:rPr lang="en-US" dirty="0"/>
              <a:t>Click to add text...</a:t>
            </a:r>
          </a:p>
          <a:p>
            <a:pPr lvl="0"/>
            <a:endParaRPr lang="en-US" dirty="0"/>
          </a:p>
        </p:txBody>
      </p:sp>
      <p:sp>
        <p:nvSpPr>
          <p:cNvPr id="27" name="Text Placeholder 22">
            <a:extLst>
              <a:ext uri="{FF2B5EF4-FFF2-40B4-BE49-F238E27FC236}">
                <a16:creationId xmlns:a16="http://schemas.microsoft.com/office/drawing/2014/main" id="{084FACD6-8782-B446-ADC6-04973BC40309}"/>
              </a:ext>
            </a:extLst>
          </p:cNvPr>
          <p:cNvSpPr>
            <a:spLocks noGrp="1"/>
          </p:cNvSpPr>
          <p:nvPr>
            <p:ph type="body" sz="quarter" idx="13" hasCustomPrompt="1"/>
          </p:nvPr>
        </p:nvSpPr>
        <p:spPr>
          <a:xfrm>
            <a:off x="7309195" y="5196363"/>
            <a:ext cx="4034717" cy="1163339"/>
          </a:xfrm>
          <a:prstGeom prst="rect">
            <a:avLst/>
          </a:prstGeom>
        </p:spPr>
        <p:txBody>
          <a:bodyPr/>
          <a:lstStyle>
            <a:lvl1pPr marL="0" indent="0" algn="ctr">
              <a:buClr>
                <a:schemeClr val="accent1"/>
              </a:buClr>
              <a:buFont typeface="AlNile-Bold"/>
              <a:buNone/>
              <a:defRPr sz="1867" b="0">
                <a:solidFill>
                  <a:schemeClr val="tx2"/>
                </a:solidFill>
                <a:latin typeface="+mn-lt"/>
                <a:ea typeface="Roboto" panose="02000000000000000000" pitchFamily="2" charset="0"/>
              </a:defRPr>
            </a:lvl1pPr>
          </a:lstStyle>
          <a:p>
            <a:pPr lvl="0"/>
            <a:r>
              <a:rPr lang="en-US" dirty="0"/>
              <a:t>Click to add text...</a:t>
            </a:r>
          </a:p>
          <a:p>
            <a:pPr lvl="0"/>
            <a:endParaRPr lang="en-US" dirty="0"/>
          </a:p>
        </p:txBody>
      </p:sp>
      <p:sp>
        <p:nvSpPr>
          <p:cNvPr id="34" name="Picture Placeholder 18">
            <a:extLst>
              <a:ext uri="{FF2B5EF4-FFF2-40B4-BE49-F238E27FC236}">
                <a16:creationId xmlns:a16="http://schemas.microsoft.com/office/drawing/2014/main" id="{38F3F3FD-D229-2E4B-855F-E4FE26DB5FEC}"/>
              </a:ext>
            </a:extLst>
          </p:cNvPr>
          <p:cNvSpPr>
            <a:spLocks noGrp="1"/>
          </p:cNvSpPr>
          <p:nvPr>
            <p:ph type="pic" sz="quarter" idx="14" hasCustomPrompt="1"/>
          </p:nvPr>
        </p:nvSpPr>
        <p:spPr>
          <a:xfrm>
            <a:off x="5829120" y="2665455"/>
            <a:ext cx="675509" cy="675509"/>
          </a:xfrm>
          <a:prstGeom prst="rect">
            <a:avLst/>
          </a:prstGeom>
        </p:spPr>
        <p:txBody>
          <a:bodyPr anchor="ctr"/>
          <a:lstStyle>
            <a:lvl1pPr marL="0" indent="0" algn="ctr">
              <a:buNone/>
              <a:defRPr sz="1067">
                <a:solidFill>
                  <a:schemeClr val="bg1"/>
                </a:solidFill>
                <a:latin typeface="+mn-lt"/>
              </a:defRPr>
            </a:lvl1pPr>
          </a:lstStyle>
          <a:p>
            <a:r>
              <a:rPr lang="nl-BE" dirty="0"/>
              <a:t>icon01</a:t>
            </a:r>
            <a:endParaRPr dirty="0"/>
          </a:p>
        </p:txBody>
      </p:sp>
      <p:sp>
        <p:nvSpPr>
          <p:cNvPr id="35" name="Picture Placeholder 18">
            <a:extLst>
              <a:ext uri="{FF2B5EF4-FFF2-40B4-BE49-F238E27FC236}">
                <a16:creationId xmlns:a16="http://schemas.microsoft.com/office/drawing/2014/main" id="{204A8731-B9A2-8A47-8C88-6C53EDA3A399}"/>
              </a:ext>
            </a:extLst>
          </p:cNvPr>
          <p:cNvSpPr>
            <a:spLocks noGrp="1"/>
          </p:cNvSpPr>
          <p:nvPr>
            <p:ph type="pic" sz="quarter" idx="15" hasCustomPrompt="1"/>
          </p:nvPr>
        </p:nvSpPr>
        <p:spPr>
          <a:xfrm>
            <a:off x="5829120" y="3968960"/>
            <a:ext cx="675509" cy="675509"/>
          </a:xfrm>
          <a:prstGeom prst="rect">
            <a:avLst/>
          </a:prstGeom>
        </p:spPr>
        <p:txBody>
          <a:bodyPr anchor="ctr"/>
          <a:lstStyle>
            <a:lvl1pPr marL="0" indent="0" algn="ctr">
              <a:buNone/>
              <a:defRPr sz="1067">
                <a:solidFill>
                  <a:schemeClr val="bg1"/>
                </a:solidFill>
                <a:latin typeface="+mn-lt"/>
              </a:defRPr>
            </a:lvl1pPr>
          </a:lstStyle>
          <a:p>
            <a:r>
              <a:rPr lang="nl-BE" dirty="0"/>
              <a:t>icon02</a:t>
            </a:r>
            <a:endParaRPr dirty="0"/>
          </a:p>
        </p:txBody>
      </p:sp>
      <p:grpSp>
        <p:nvGrpSpPr>
          <p:cNvPr id="36" name="Graphic 6">
            <a:extLst>
              <a:ext uri="{FF2B5EF4-FFF2-40B4-BE49-F238E27FC236}">
                <a16:creationId xmlns:a16="http://schemas.microsoft.com/office/drawing/2014/main" id="{C73F28EA-4DA5-4C0D-A17C-489195A7A206}"/>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7" name="Freeform: Shape 36">
              <a:extLst>
                <a:ext uri="{FF2B5EF4-FFF2-40B4-BE49-F238E27FC236}">
                  <a16:creationId xmlns:a16="http://schemas.microsoft.com/office/drawing/2014/main" id="{B796FED0-B8FC-4EDE-9B2A-55328105F5B5}"/>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8" name="Freeform: Shape 37">
              <a:extLst>
                <a:ext uri="{FF2B5EF4-FFF2-40B4-BE49-F238E27FC236}">
                  <a16:creationId xmlns:a16="http://schemas.microsoft.com/office/drawing/2014/main" id="{37489D16-EB64-4CD9-9157-EC2850871A7E}"/>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4" name="Title 10">
            <a:extLst>
              <a:ext uri="{FF2B5EF4-FFF2-40B4-BE49-F238E27FC236}">
                <a16:creationId xmlns:a16="http://schemas.microsoft.com/office/drawing/2014/main" id="{A1195606-489D-4C57-80FE-84D858D506FA}"/>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Comparison 2</a:t>
            </a:r>
          </a:p>
        </p:txBody>
      </p:sp>
    </p:spTree>
    <p:extLst>
      <p:ext uri="{BB962C8B-B14F-4D97-AF65-F5344CB8AC3E}">
        <p14:creationId xmlns:p14="http://schemas.microsoft.com/office/powerpoint/2010/main" val="3604800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rganigram 1">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632481E-9F03-4843-89ED-B9B0B90BE233}"/>
              </a:ext>
            </a:extLst>
          </p:cNvPr>
          <p:cNvCxnSpPr/>
          <p:nvPr userDrawn="1"/>
        </p:nvCxnSpPr>
        <p:spPr>
          <a:xfrm>
            <a:off x="6116249" y="2385567"/>
            <a:ext cx="5881" cy="1463304"/>
          </a:xfrm>
          <a:prstGeom prst="line">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7" name="AutoShape 10">
            <a:extLst>
              <a:ext uri="{FF2B5EF4-FFF2-40B4-BE49-F238E27FC236}">
                <a16:creationId xmlns:a16="http://schemas.microsoft.com/office/drawing/2014/main" id="{29EC3BF9-5502-E949-85B8-561C852E54B7}"/>
              </a:ext>
            </a:extLst>
          </p:cNvPr>
          <p:cNvSpPr>
            <a:spLocks/>
          </p:cNvSpPr>
          <p:nvPr userDrawn="1"/>
        </p:nvSpPr>
        <p:spPr bwMode="auto">
          <a:xfrm>
            <a:off x="8613991" y="4214102"/>
            <a:ext cx="1821735" cy="179857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6796 w 19822"/>
              <a:gd name="connsiteY0" fmla="*/ 3099 h 19570"/>
              <a:gd name="connsiteX1" fmla="*/ 16796 w 19822"/>
              <a:gd name="connsiteY1" fmla="*/ 17014 h 19570"/>
              <a:gd name="connsiteX2" fmla="*/ 2881 w 19822"/>
              <a:gd name="connsiteY2" fmla="*/ 17014 h 19570"/>
              <a:gd name="connsiteX3" fmla="*/ 2881 w 19822"/>
              <a:gd name="connsiteY3" fmla="*/ 3099 h 19570"/>
              <a:gd name="connsiteX4" fmla="*/ 16796 w 19822"/>
              <a:gd name="connsiteY4" fmla="*/ 3099 h 19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2" h="19570">
                <a:moveTo>
                  <a:pt x="16796" y="3099"/>
                </a:moveTo>
                <a:cubicBezTo>
                  <a:pt x="21020" y="7513"/>
                  <a:pt x="20639" y="14069"/>
                  <a:pt x="16796" y="17014"/>
                </a:cubicBezTo>
                <a:cubicBezTo>
                  <a:pt x="12953" y="19959"/>
                  <a:pt x="6724" y="20857"/>
                  <a:pt x="2881" y="17014"/>
                </a:cubicBezTo>
                <a:cubicBezTo>
                  <a:pt x="-961" y="13171"/>
                  <a:pt x="-961" y="6942"/>
                  <a:pt x="2881" y="3099"/>
                </a:cubicBezTo>
                <a:cubicBezTo>
                  <a:pt x="6724" y="-743"/>
                  <a:pt x="12572" y="-1315"/>
                  <a:pt x="16796" y="3099"/>
                </a:cubicBezTo>
                <a:close/>
              </a:path>
            </a:pathLst>
          </a:custGeom>
          <a:solidFill>
            <a:schemeClr val="accent4"/>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bg1"/>
              </a:solidFill>
              <a:latin typeface="Crank 8 Plus Two" panose="02000506030000020004" pitchFamily="50" charset="0"/>
              <a:ea typeface="Roboto" charset="0"/>
              <a:cs typeface="Roboto" charset="0"/>
              <a:sym typeface="Helvetica Light" charset="0"/>
            </a:endParaRPr>
          </a:p>
        </p:txBody>
      </p:sp>
      <p:sp>
        <p:nvSpPr>
          <p:cNvPr id="8" name="AutoShape 10">
            <a:extLst>
              <a:ext uri="{FF2B5EF4-FFF2-40B4-BE49-F238E27FC236}">
                <a16:creationId xmlns:a16="http://schemas.microsoft.com/office/drawing/2014/main" id="{C64545B0-0A03-8348-B25F-9C110BFAE61D}"/>
              </a:ext>
            </a:extLst>
          </p:cNvPr>
          <p:cNvSpPr>
            <a:spLocks/>
          </p:cNvSpPr>
          <p:nvPr userDrawn="1"/>
        </p:nvSpPr>
        <p:spPr bwMode="auto">
          <a:xfrm>
            <a:off x="1801639" y="4230278"/>
            <a:ext cx="1828628" cy="181236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6871 w 19897"/>
              <a:gd name="connsiteY0" fmla="*/ 2923 h 19720"/>
              <a:gd name="connsiteX1" fmla="*/ 16871 w 19897"/>
              <a:gd name="connsiteY1" fmla="*/ 16838 h 19720"/>
              <a:gd name="connsiteX2" fmla="*/ 2956 w 19897"/>
              <a:gd name="connsiteY2" fmla="*/ 16838 h 19720"/>
              <a:gd name="connsiteX3" fmla="*/ 2956 w 19897"/>
              <a:gd name="connsiteY3" fmla="*/ 2923 h 19720"/>
              <a:gd name="connsiteX4" fmla="*/ 16871 w 19897"/>
              <a:gd name="connsiteY4" fmla="*/ 2923 h 19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97" h="19720">
                <a:moveTo>
                  <a:pt x="16871" y="2923"/>
                </a:moveTo>
                <a:cubicBezTo>
                  <a:pt x="21095" y="7337"/>
                  <a:pt x="20714" y="12995"/>
                  <a:pt x="16871" y="16838"/>
                </a:cubicBezTo>
                <a:cubicBezTo>
                  <a:pt x="13028" y="20681"/>
                  <a:pt x="6799" y="20681"/>
                  <a:pt x="2956" y="16838"/>
                </a:cubicBezTo>
                <a:cubicBezTo>
                  <a:pt x="-886" y="12995"/>
                  <a:pt x="-1085" y="6267"/>
                  <a:pt x="2956" y="2923"/>
                </a:cubicBezTo>
                <a:cubicBezTo>
                  <a:pt x="6997" y="-421"/>
                  <a:pt x="12647" y="-1491"/>
                  <a:pt x="16871" y="2923"/>
                </a:cubicBezTo>
                <a:close/>
              </a:path>
            </a:pathLst>
          </a:custGeom>
          <a:solidFill>
            <a:schemeClr val="accent4"/>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bg1"/>
              </a:solidFill>
              <a:latin typeface="Crank 8 Plus Two" panose="02000506030000020004" pitchFamily="50" charset="0"/>
              <a:ea typeface="Roboto" charset="0"/>
              <a:cs typeface="Roboto" charset="0"/>
              <a:sym typeface="Helvetica Light" charset="0"/>
            </a:endParaRPr>
          </a:p>
        </p:txBody>
      </p:sp>
      <p:sp>
        <p:nvSpPr>
          <p:cNvPr id="9" name="AutoShape 10">
            <a:extLst>
              <a:ext uri="{FF2B5EF4-FFF2-40B4-BE49-F238E27FC236}">
                <a16:creationId xmlns:a16="http://schemas.microsoft.com/office/drawing/2014/main" id="{E36F7041-DF89-F342-B8CA-DDA6342B8BA2}"/>
              </a:ext>
            </a:extLst>
          </p:cNvPr>
          <p:cNvSpPr>
            <a:spLocks/>
          </p:cNvSpPr>
          <p:nvPr userDrawn="1"/>
        </p:nvSpPr>
        <p:spPr bwMode="auto">
          <a:xfrm>
            <a:off x="5225655" y="1557159"/>
            <a:ext cx="1821735" cy="1828536"/>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2" h="19896">
                <a:moveTo>
                  <a:pt x="16796" y="3099"/>
                </a:moveTo>
                <a:cubicBezTo>
                  <a:pt x="21020" y="7513"/>
                  <a:pt x="20639" y="13171"/>
                  <a:pt x="16796" y="17014"/>
                </a:cubicBezTo>
                <a:cubicBezTo>
                  <a:pt x="12953" y="20857"/>
                  <a:pt x="6724" y="20857"/>
                  <a:pt x="2881" y="17014"/>
                </a:cubicBezTo>
                <a:cubicBezTo>
                  <a:pt x="-961" y="13171"/>
                  <a:pt x="-961" y="6942"/>
                  <a:pt x="2881" y="3099"/>
                </a:cubicBezTo>
                <a:cubicBezTo>
                  <a:pt x="6724" y="-743"/>
                  <a:pt x="12572" y="-1315"/>
                  <a:pt x="16796" y="3099"/>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bg1"/>
              </a:solidFill>
              <a:latin typeface="Crank 8 Plus Two" panose="02000506030000020004" pitchFamily="50" charset="0"/>
              <a:ea typeface="Roboto" charset="0"/>
              <a:cs typeface="Roboto" charset="0"/>
              <a:sym typeface="Helvetica Light" charset="0"/>
            </a:endParaRPr>
          </a:p>
        </p:txBody>
      </p:sp>
      <p:sp>
        <p:nvSpPr>
          <p:cNvPr id="10" name="Right Bracket 9">
            <a:extLst>
              <a:ext uri="{FF2B5EF4-FFF2-40B4-BE49-F238E27FC236}">
                <a16:creationId xmlns:a16="http://schemas.microsoft.com/office/drawing/2014/main" id="{903E8B7C-5086-B648-A840-75F60DCA2D61}"/>
              </a:ext>
            </a:extLst>
          </p:cNvPr>
          <p:cNvSpPr/>
          <p:nvPr userDrawn="1"/>
        </p:nvSpPr>
        <p:spPr>
          <a:xfrm rot="16200000">
            <a:off x="5939514" y="626435"/>
            <a:ext cx="365231" cy="6810103"/>
          </a:xfrm>
          <a:prstGeom prst="rightBracket">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sz="2400">
              <a:latin typeface="Crank 8 Plus Two" panose="02000506030000020004" pitchFamily="50" charset="0"/>
            </a:endParaRPr>
          </a:p>
        </p:txBody>
      </p:sp>
      <p:sp>
        <p:nvSpPr>
          <p:cNvPr id="13" name="Text Placeholder 12">
            <a:extLst>
              <a:ext uri="{FF2B5EF4-FFF2-40B4-BE49-F238E27FC236}">
                <a16:creationId xmlns:a16="http://schemas.microsoft.com/office/drawing/2014/main" id="{27C3EF8B-0540-F04E-8575-AFFD289F7F95}"/>
              </a:ext>
            </a:extLst>
          </p:cNvPr>
          <p:cNvSpPr>
            <a:spLocks noGrp="1"/>
          </p:cNvSpPr>
          <p:nvPr>
            <p:ph type="body" sz="quarter" idx="10" hasCustomPrompt="1"/>
          </p:nvPr>
        </p:nvSpPr>
        <p:spPr>
          <a:xfrm>
            <a:off x="5225655" y="2051050"/>
            <a:ext cx="1821735" cy="832455"/>
          </a:xfrm>
          <a:prstGeom prst="rect">
            <a:avLst/>
          </a:prstGeom>
        </p:spPr>
        <p:txBody>
          <a:bodyPr anchor="ctr"/>
          <a:lstStyle>
            <a:lvl1pPr marL="0" indent="0" algn="ctr">
              <a:buNone/>
              <a:defRPr sz="2133">
                <a:solidFill>
                  <a:schemeClr val="bg1"/>
                </a:solidFill>
                <a:latin typeface="Crank 8 Plus Two" panose="02000506030000020004" pitchFamily="50" charset="0"/>
              </a:defRPr>
            </a:lvl1pPr>
          </a:lstStyle>
          <a:p>
            <a:pPr lvl="0"/>
            <a:r>
              <a:rPr lang="en-US" dirty="0"/>
              <a:t>Item</a:t>
            </a:r>
            <a:endParaRPr dirty="0"/>
          </a:p>
        </p:txBody>
      </p:sp>
      <p:sp>
        <p:nvSpPr>
          <p:cNvPr id="14" name="Text Placeholder 12">
            <a:extLst>
              <a:ext uri="{FF2B5EF4-FFF2-40B4-BE49-F238E27FC236}">
                <a16:creationId xmlns:a16="http://schemas.microsoft.com/office/drawing/2014/main" id="{77244C44-C998-B849-BBAC-009FD4CB4C76}"/>
              </a:ext>
            </a:extLst>
          </p:cNvPr>
          <p:cNvSpPr>
            <a:spLocks noGrp="1"/>
          </p:cNvSpPr>
          <p:nvPr>
            <p:ph type="body" sz="quarter" idx="11" hasCustomPrompt="1"/>
          </p:nvPr>
        </p:nvSpPr>
        <p:spPr>
          <a:xfrm>
            <a:off x="1806210" y="4715983"/>
            <a:ext cx="1821735" cy="832455"/>
          </a:xfrm>
          <a:prstGeom prst="rect">
            <a:avLst/>
          </a:prstGeom>
        </p:spPr>
        <p:txBody>
          <a:bodyPr anchor="ctr"/>
          <a:lstStyle>
            <a:lvl1pPr marL="0" indent="0" algn="ctr">
              <a:buNone/>
              <a:defRPr sz="2133">
                <a:solidFill>
                  <a:schemeClr val="bg1"/>
                </a:solidFill>
                <a:latin typeface="+mn-lt"/>
              </a:defRPr>
            </a:lvl1pPr>
          </a:lstStyle>
          <a:p>
            <a:pPr lvl="0"/>
            <a:r>
              <a:rPr lang="en-US" dirty="0"/>
              <a:t>Sub Item 1</a:t>
            </a:r>
            <a:endParaRPr dirty="0"/>
          </a:p>
        </p:txBody>
      </p:sp>
      <p:sp>
        <p:nvSpPr>
          <p:cNvPr id="15" name="Text Placeholder 12">
            <a:extLst>
              <a:ext uri="{FF2B5EF4-FFF2-40B4-BE49-F238E27FC236}">
                <a16:creationId xmlns:a16="http://schemas.microsoft.com/office/drawing/2014/main" id="{CF2F0724-4F71-344B-97FE-FF476481249C}"/>
              </a:ext>
            </a:extLst>
          </p:cNvPr>
          <p:cNvSpPr>
            <a:spLocks noGrp="1"/>
          </p:cNvSpPr>
          <p:nvPr>
            <p:ph type="body" sz="quarter" idx="12" hasCustomPrompt="1"/>
          </p:nvPr>
        </p:nvSpPr>
        <p:spPr>
          <a:xfrm>
            <a:off x="8611669" y="4715983"/>
            <a:ext cx="1821735" cy="832455"/>
          </a:xfrm>
          <a:prstGeom prst="rect">
            <a:avLst/>
          </a:prstGeom>
        </p:spPr>
        <p:txBody>
          <a:bodyPr anchor="ctr"/>
          <a:lstStyle>
            <a:lvl1pPr marL="0" indent="0" algn="ctr">
              <a:buNone/>
              <a:defRPr sz="2133">
                <a:solidFill>
                  <a:schemeClr val="bg1"/>
                </a:solidFill>
                <a:latin typeface="+mn-lt"/>
              </a:defRPr>
            </a:lvl1pPr>
          </a:lstStyle>
          <a:p>
            <a:pPr lvl="0"/>
            <a:r>
              <a:rPr lang="en-US" dirty="0"/>
              <a:t>Sub Item 2</a:t>
            </a:r>
            <a:endParaRPr dirty="0"/>
          </a:p>
        </p:txBody>
      </p:sp>
      <p:grpSp>
        <p:nvGrpSpPr>
          <p:cNvPr id="23" name="Graphic 6">
            <a:extLst>
              <a:ext uri="{FF2B5EF4-FFF2-40B4-BE49-F238E27FC236}">
                <a16:creationId xmlns:a16="http://schemas.microsoft.com/office/drawing/2014/main" id="{2A76A07B-DB38-4DF7-BAB1-779E642A62E1}"/>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4" name="Freeform: Shape 23">
              <a:extLst>
                <a:ext uri="{FF2B5EF4-FFF2-40B4-BE49-F238E27FC236}">
                  <a16:creationId xmlns:a16="http://schemas.microsoft.com/office/drawing/2014/main" id="{AB4F2510-D9FD-44D6-979D-DD3177556A50}"/>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5" name="Freeform: Shape 24">
              <a:extLst>
                <a:ext uri="{FF2B5EF4-FFF2-40B4-BE49-F238E27FC236}">
                  <a16:creationId xmlns:a16="http://schemas.microsoft.com/office/drawing/2014/main" id="{D0BE256A-BD88-4EFC-9D98-F7BA1750CAE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6" name="Title 10">
            <a:extLst>
              <a:ext uri="{FF2B5EF4-FFF2-40B4-BE49-F238E27FC236}">
                <a16:creationId xmlns:a16="http://schemas.microsoft.com/office/drawing/2014/main" id="{2F48F7E5-74C4-425B-9457-D45CE208D0F4}"/>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Organigram 1</a:t>
            </a:r>
          </a:p>
        </p:txBody>
      </p:sp>
    </p:spTree>
    <p:extLst>
      <p:ext uri="{BB962C8B-B14F-4D97-AF65-F5344CB8AC3E}">
        <p14:creationId xmlns:p14="http://schemas.microsoft.com/office/powerpoint/2010/main" val="1431153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ganigram 2">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270F67A6-2AC0-384F-87D2-C988334DC399}"/>
              </a:ext>
            </a:extLst>
          </p:cNvPr>
          <p:cNvCxnSpPr/>
          <p:nvPr userDrawn="1"/>
        </p:nvCxnSpPr>
        <p:spPr>
          <a:xfrm>
            <a:off x="6116249" y="2544569"/>
            <a:ext cx="5881" cy="1463304"/>
          </a:xfrm>
          <a:prstGeom prst="line">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4" name="AutoShape 10">
            <a:extLst>
              <a:ext uri="{FF2B5EF4-FFF2-40B4-BE49-F238E27FC236}">
                <a16:creationId xmlns:a16="http://schemas.microsoft.com/office/drawing/2014/main" id="{F313719A-414B-3140-A84A-2FC82DBC7797}"/>
              </a:ext>
            </a:extLst>
          </p:cNvPr>
          <p:cNvSpPr>
            <a:spLocks/>
          </p:cNvSpPr>
          <p:nvPr userDrawn="1"/>
        </p:nvSpPr>
        <p:spPr bwMode="auto">
          <a:xfrm>
            <a:off x="1967351" y="4373105"/>
            <a:ext cx="1527228" cy="1512339"/>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6796 w 20001"/>
              <a:gd name="connsiteY0" fmla="*/ 3099 h 19806"/>
              <a:gd name="connsiteX1" fmla="*/ 16796 w 20001"/>
              <a:gd name="connsiteY1" fmla="*/ 17014 h 19806"/>
              <a:gd name="connsiteX2" fmla="*/ 2881 w 20001"/>
              <a:gd name="connsiteY2" fmla="*/ 17014 h 19806"/>
              <a:gd name="connsiteX3" fmla="*/ 2881 w 20001"/>
              <a:gd name="connsiteY3" fmla="*/ 3099 h 19806"/>
              <a:gd name="connsiteX4" fmla="*/ 16796 w 20001"/>
              <a:gd name="connsiteY4" fmla="*/ 3099 h 198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1" h="19806">
                <a:moveTo>
                  <a:pt x="16796" y="3099"/>
                </a:moveTo>
                <a:cubicBezTo>
                  <a:pt x="21020" y="7513"/>
                  <a:pt x="21119" y="13411"/>
                  <a:pt x="16796" y="17014"/>
                </a:cubicBezTo>
                <a:cubicBezTo>
                  <a:pt x="12473" y="20617"/>
                  <a:pt x="6724" y="20857"/>
                  <a:pt x="2881" y="17014"/>
                </a:cubicBezTo>
                <a:cubicBezTo>
                  <a:pt x="-961" y="13171"/>
                  <a:pt x="-961" y="6942"/>
                  <a:pt x="2881" y="3099"/>
                </a:cubicBezTo>
                <a:cubicBezTo>
                  <a:pt x="6724" y="-743"/>
                  <a:pt x="12572" y="-1315"/>
                  <a:pt x="16796" y="3099"/>
                </a:cubicBez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accent3"/>
              </a:solidFill>
              <a:latin typeface="+mn-lt"/>
              <a:ea typeface="Roboto" charset="0"/>
              <a:cs typeface="Roboto" charset="0"/>
              <a:sym typeface="Helvetica Light" charset="0"/>
            </a:endParaRPr>
          </a:p>
        </p:txBody>
      </p:sp>
      <p:sp>
        <p:nvSpPr>
          <p:cNvPr id="5" name="AutoShape 10">
            <a:extLst>
              <a:ext uri="{FF2B5EF4-FFF2-40B4-BE49-F238E27FC236}">
                <a16:creationId xmlns:a16="http://schemas.microsoft.com/office/drawing/2014/main" id="{0B4D07FF-6D0C-7D48-8CE8-2D19D1532368}"/>
              </a:ext>
            </a:extLst>
          </p:cNvPr>
          <p:cNvSpPr>
            <a:spLocks/>
          </p:cNvSpPr>
          <p:nvPr userDrawn="1"/>
        </p:nvSpPr>
        <p:spPr bwMode="auto">
          <a:xfrm>
            <a:off x="5225655" y="1716161"/>
            <a:ext cx="1821735" cy="1828536"/>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2" h="19896">
                <a:moveTo>
                  <a:pt x="16796" y="3099"/>
                </a:moveTo>
                <a:cubicBezTo>
                  <a:pt x="21020" y="7513"/>
                  <a:pt x="20639" y="13171"/>
                  <a:pt x="16796" y="17014"/>
                </a:cubicBezTo>
                <a:cubicBezTo>
                  <a:pt x="12953" y="20857"/>
                  <a:pt x="6724" y="20857"/>
                  <a:pt x="2881" y="17014"/>
                </a:cubicBezTo>
                <a:cubicBezTo>
                  <a:pt x="-961" y="13171"/>
                  <a:pt x="-961" y="6942"/>
                  <a:pt x="2881" y="3099"/>
                </a:cubicBezTo>
                <a:cubicBezTo>
                  <a:pt x="6724" y="-743"/>
                  <a:pt x="12572" y="-1315"/>
                  <a:pt x="16796" y="3099"/>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bg1"/>
              </a:solidFill>
              <a:latin typeface="Crank 8 Plus Two" panose="02000506030000020004" pitchFamily="50" charset="0"/>
              <a:ea typeface="Roboto" charset="0"/>
              <a:cs typeface="Roboto" charset="0"/>
              <a:sym typeface="Helvetica Light" charset="0"/>
            </a:endParaRPr>
          </a:p>
        </p:txBody>
      </p:sp>
      <p:sp>
        <p:nvSpPr>
          <p:cNvPr id="6" name="Right Bracket 5">
            <a:extLst>
              <a:ext uri="{FF2B5EF4-FFF2-40B4-BE49-F238E27FC236}">
                <a16:creationId xmlns:a16="http://schemas.microsoft.com/office/drawing/2014/main" id="{DAFAC078-17E3-5846-9C9F-B27B205BF57E}"/>
              </a:ext>
            </a:extLst>
          </p:cNvPr>
          <p:cNvSpPr/>
          <p:nvPr userDrawn="1"/>
        </p:nvSpPr>
        <p:spPr>
          <a:xfrm rot="16200000">
            <a:off x="5939514" y="785438"/>
            <a:ext cx="365231" cy="6810103"/>
          </a:xfrm>
          <a:prstGeom prst="rightBracket">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sz="2400">
              <a:latin typeface="+mn-lt"/>
            </a:endParaRPr>
          </a:p>
        </p:txBody>
      </p:sp>
      <p:cxnSp>
        <p:nvCxnSpPr>
          <p:cNvPr id="7" name="Straight Connector 6">
            <a:extLst>
              <a:ext uri="{FF2B5EF4-FFF2-40B4-BE49-F238E27FC236}">
                <a16:creationId xmlns:a16="http://schemas.microsoft.com/office/drawing/2014/main" id="{7EED9BB8-92F5-0D4D-8F9E-92BA5A886AB7}"/>
              </a:ext>
            </a:extLst>
          </p:cNvPr>
          <p:cNvCxnSpPr/>
          <p:nvPr userDrawn="1"/>
        </p:nvCxnSpPr>
        <p:spPr>
          <a:xfrm>
            <a:off x="4903329" y="4007873"/>
            <a:ext cx="0" cy="365232"/>
          </a:xfrm>
          <a:prstGeom prst="line">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8" name="AutoShape 10">
            <a:extLst>
              <a:ext uri="{FF2B5EF4-FFF2-40B4-BE49-F238E27FC236}">
                <a16:creationId xmlns:a16="http://schemas.microsoft.com/office/drawing/2014/main" id="{DF7790F8-100E-C14E-8852-D1652422BA57}"/>
              </a:ext>
            </a:extLst>
          </p:cNvPr>
          <p:cNvSpPr>
            <a:spLocks/>
          </p:cNvSpPr>
          <p:nvPr userDrawn="1"/>
        </p:nvSpPr>
        <p:spPr bwMode="auto">
          <a:xfrm>
            <a:off x="4124371" y="4380054"/>
            <a:ext cx="1535016" cy="151226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6796 w 20103"/>
              <a:gd name="connsiteY0" fmla="*/ 3008 h 19805"/>
              <a:gd name="connsiteX1" fmla="*/ 16796 w 20103"/>
              <a:gd name="connsiteY1" fmla="*/ 16923 h 19805"/>
              <a:gd name="connsiteX2" fmla="*/ 2881 w 20103"/>
              <a:gd name="connsiteY2" fmla="*/ 16923 h 19805"/>
              <a:gd name="connsiteX3" fmla="*/ 2881 w 20103"/>
              <a:gd name="connsiteY3" fmla="*/ 3008 h 19805"/>
              <a:gd name="connsiteX4" fmla="*/ 16796 w 20103"/>
              <a:gd name="connsiteY4" fmla="*/ 3008 h 19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03" h="19805">
                <a:moveTo>
                  <a:pt x="16796" y="3008"/>
                </a:moveTo>
                <a:cubicBezTo>
                  <a:pt x="21740" y="7182"/>
                  <a:pt x="20639" y="13080"/>
                  <a:pt x="16796" y="16923"/>
                </a:cubicBezTo>
                <a:cubicBezTo>
                  <a:pt x="12953" y="20766"/>
                  <a:pt x="6724" y="20766"/>
                  <a:pt x="2881" y="16923"/>
                </a:cubicBezTo>
                <a:cubicBezTo>
                  <a:pt x="-961" y="13080"/>
                  <a:pt x="-961" y="6851"/>
                  <a:pt x="2881" y="3008"/>
                </a:cubicBezTo>
                <a:cubicBezTo>
                  <a:pt x="6724" y="-834"/>
                  <a:pt x="11852" y="-1166"/>
                  <a:pt x="16796" y="3008"/>
                </a:cubicBez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accent3"/>
              </a:solidFill>
              <a:latin typeface="+mn-lt"/>
              <a:ea typeface="Roboto" charset="0"/>
              <a:cs typeface="Roboto" charset="0"/>
              <a:sym typeface="Helvetica Light" charset="0"/>
            </a:endParaRPr>
          </a:p>
        </p:txBody>
      </p:sp>
      <p:cxnSp>
        <p:nvCxnSpPr>
          <p:cNvPr id="9" name="Straight Connector 8">
            <a:extLst>
              <a:ext uri="{FF2B5EF4-FFF2-40B4-BE49-F238E27FC236}">
                <a16:creationId xmlns:a16="http://schemas.microsoft.com/office/drawing/2014/main" id="{75A816BB-5F67-5446-B370-34E626EEC90A}"/>
              </a:ext>
            </a:extLst>
          </p:cNvPr>
          <p:cNvCxnSpPr/>
          <p:nvPr userDrawn="1"/>
        </p:nvCxnSpPr>
        <p:spPr>
          <a:xfrm>
            <a:off x="7308245" y="4007873"/>
            <a:ext cx="0" cy="365232"/>
          </a:xfrm>
          <a:prstGeom prst="line">
            <a:avLst/>
          </a:prstGeom>
          <a:ln w="1905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10" name="AutoShape 10">
            <a:extLst>
              <a:ext uri="{FF2B5EF4-FFF2-40B4-BE49-F238E27FC236}">
                <a16:creationId xmlns:a16="http://schemas.microsoft.com/office/drawing/2014/main" id="{95F64A34-D0B1-8948-949B-31CDA63ACDCB}"/>
              </a:ext>
            </a:extLst>
          </p:cNvPr>
          <p:cNvSpPr>
            <a:spLocks/>
          </p:cNvSpPr>
          <p:nvPr userDrawn="1"/>
        </p:nvSpPr>
        <p:spPr bwMode="auto">
          <a:xfrm>
            <a:off x="6550788" y="4373105"/>
            <a:ext cx="1538224" cy="1519211"/>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7119 w 20145"/>
              <a:gd name="connsiteY0" fmla="*/ 3099 h 19896"/>
              <a:gd name="connsiteX1" fmla="*/ 17119 w 20145"/>
              <a:gd name="connsiteY1" fmla="*/ 17014 h 19896"/>
              <a:gd name="connsiteX2" fmla="*/ 3204 w 20145"/>
              <a:gd name="connsiteY2" fmla="*/ 17014 h 19896"/>
              <a:gd name="connsiteX3" fmla="*/ 3204 w 20145"/>
              <a:gd name="connsiteY3" fmla="*/ 3099 h 19896"/>
              <a:gd name="connsiteX4" fmla="*/ 17119 w 20145"/>
              <a:gd name="connsiteY4" fmla="*/ 3099 h 19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5" h="19896">
                <a:moveTo>
                  <a:pt x="17119" y="3099"/>
                </a:moveTo>
                <a:cubicBezTo>
                  <a:pt x="21343" y="7513"/>
                  <a:pt x="20962" y="13171"/>
                  <a:pt x="17119" y="17014"/>
                </a:cubicBezTo>
                <a:cubicBezTo>
                  <a:pt x="13276" y="20857"/>
                  <a:pt x="7047" y="20857"/>
                  <a:pt x="3204" y="17014"/>
                </a:cubicBezTo>
                <a:cubicBezTo>
                  <a:pt x="-1478" y="13051"/>
                  <a:pt x="-638" y="6942"/>
                  <a:pt x="3204" y="3099"/>
                </a:cubicBezTo>
                <a:cubicBezTo>
                  <a:pt x="7047" y="-743"/>
                  <a:pt x="12895" y="-1315"/>
                  <a:pt x="17119" y="3099"/>
                </a:cubicBez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accent3"/>
              </a:solidFill>
              <a:latin typeface="+mn-lt"/>
              <a:ea typeface="Roboto" charset="0"/>
              <a:cs typeface="Roboto" charset="0"/>
              <a:sym typeface="Helvetica Light" charset="0"/>
            </a:endParaRPr>
          </a:p>
        </p:txBody>
      </p:sp>
      <p:sp>
        <p:nvSpPr>
          <p:cNvPr id="11" name="AutoShape 10">
            <a:extLst>
              <a:ext uri="{FF2B5EF4-FFF2-40B4-BE49-F238E27FC236}">
                <a16:creationId xmlns:a16="http://schemas.microsoft.com/office/drawing/2014/main" id="{F62F4C8F-94DA-6F4F-B2A0-A25DC7D425CC}"/>
              </a:ext>
            </a:extLst>
          </p:cNvPr>
          <p:cNvSpPr>
            <a:spLocks/>
          </p:cNvSpPr>
          <p:nvPr userDrawn="1"/>
        </p:nvSpPr>
        <p:spPr bwMode="auto">
          <a:xfrm>
            <a:off x="8789752" y="4373106"/>
            <a:ext cx="1513560" cy="153310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19822"/>
              <a:gd name="connsiteY0" fmla="*/ 3099 h 19896"/>
              <a:gd name="connsiteX1" fmla="*/ 16796 w 19822"/>
              <a:gd name="connsiteY1" fmla="*/ 17014 h 19896"/>
              <a:gd name="connsiteX2" fmla="*/ 2881 w 19822"/>
              <a:gd name="connsiteY2" fmla="*/ 17014 h 19896"/>
              <a:gd name="connsiteX3" fmla="*/ 2881 w 19822"/>
              <a:gd name="connsiteY3" fmla="*/ 3099 h 19896"/>
              <a:gd name="connsiteX4" fmla="*/ 16796 w 19822"/>
              <a:gd name="connsiteY4" fmla="*/ 3099 h 19896"/>
              <a:gd name="connsiteX0" fmla="*/ 16796 w 19822"/>
              <a:gd name="connsiteY0" fmla="*/ 3099 h 20078"/>
              <a:gd name="connsiteX1" fmla="*/ 16796 w 19822"/>
              <a:gd name="connsiteY1" fmla="*/ 17014 h 20078"/>
              <a:gd name="connsiteX2" fmla="*/ 2881 w 19822"/>
              <a:gd name="connsiteY2" fmla="*/ 17014 h 20078"/>
              <a:gd name="connsiteX3" fmla="*/ 2881 w 19822"/>
              <a:gd name="connsiteY3" fmla="*/ 3099 h 20078"/>
              <a:gd name="connsiteX4" fmla="*/ 16796 w 19822"/>
              <a:gd name="connsiteY4" fmla="*/ 3099 h 20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2" h="20078">
                <a:moveTo>
                  <a:pt x="16796" y="3099"/>
                </a:moveTo>
                <a:cubicBezTo>
                  <a:pt x="21020" y="7513"/>
                  <a:pt x="20639" y="12691"/>
                  <a:pt x="16796" y="17014"/>
                </a:cubicBezTo>
                <a:cubicBezTo>
                  <a:pt x="12953" y="21337"/>
                  <a:pt x="6724" y="20857"/>
                  <a:pt x="2881" y="17014"/>
                </a:cubicBezTo>
                <a:cubicBezTo>
                  <a:pt x="-961" y="13171"/>
                  <a:pt x="-961" y="6942"/>
                  <a:pt x="2881" y="3099"/>
                </a:cubicBezTo>
                <a:cubicBezTo>
                  <a:pt x="6724" y="-743"/>
                  <a:pt x="12572" y="-1315"/>
                  <a:pt x="16796" y="3099"/>
                </a:cubicBez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1867" dirty="0">
              <a:solidFill>
                <a:schemeClr val="accent3"/>
              </a:solidFill>
              <a:latin typeface="+mn-lt"/>
              <a:ea typeface="Roboto" charset="0"/>
              <a:cs typeface="Roboto" charset="0"/>
              <a:sym typeface="Helvetica Light" charset="0"/>
            </a:endParaRPr>
          </a:p>
        </p:txBody>
      </p:sp>
      <p:sp>
        <p:nvSpPr>
          <p:cNvPr id="15" name="Text Placeholder 12">
            <a:extLst>
              <a:ext uri="{FF2B5EF4-FFF2-40B4-BE49-F238E27FC236}">
                <a16:creationId xmlns:a16="http://schemas.microsoft.com/office/drawing/2014/main" id="{D5EDE10A-163D-7D47-BEB2-8DD4E9868102}"/>
              </a:ext>
            </a:extLst>
          </p:cNvPr>
          <p:cNvSpPr>
            <a:spLocks noGrp="1"/>
          </p:cNvSpPr>
          <p:nvPr>
            <p:ph type="body" sz="quarter" idx="11" hasCustomPrompt="1"/>
          </p:nvPr>
        </p:nvSpPr>
        <p:spPr>
          <a:xfrm>
            <a:off x="1967352" y="4715983"/>
            <a:ext cx="1513560" cy="832455"/>
          </a:xfrm>
          <a:prstGeom prst="rect">
            <a:avLst/>
          </a:prstGeom>
        </p:spPr>
        <p:txBody>
          <a:bodyPr anchor="ctr"/>
          <a:lstStyle>
            <a:lvl1pPr marL="0" indent="0" algn="ctr">
              <a:buNone/>
              <a:defRPr sz="2000">
                <a:solidFill>
                  <a:schemeClr val="bg1"/>
                </a:solidFill>
                <a:latin typeface="+mn-lt"/>
              </a:defRPr>
            </a:lvl1pPr>
          </a:lstStyle>
          <a:p>
            <a:pPr lvl="0"/>
            <a:r>
              <a:rPr lang="en-US" dirty="0"/>
              <a:t>Sub Item 1</a:t>
            </a:r>
            <a:endParaRPr dirty="0"/>
          </a:p>
        </p:txBody>
      </p:sp>
      <p:sp>
        <p:nvSpPr>
          <p:cNvPr id="16" name="Text Placeholder 12">
            <a:extLst>
              <a:ext uri="{FF2B5EF4-FFF2-40B4-BE49-F238E27FC236}">
                <a16:creationId xmlns:a16="http://schemas.microsoft.com/office/drawing/2014/main" id="{21829493-6AA2-654B-84C5-CB7F629FDE08}"/>
              </a:ext>
            </a:extLst>
          </p:cNvPr>
          <p:cNvSpPr>
            <a:spLocks noGrp="1"/>
          </p:cNvSpPr>
          <p:nvPr>
            <p:ph type="body" sz="quarter" idx="12" hasCustomPrompt="1"/>
          </p:nvPr>
        </p:nvSpPr>
        <p:spPr>
          <a:xfrm>
            <a:off x="4114204" y="4715983"/>
            <a:ext cx="1513560" cy="832455"/>
          </a:xfrm>
          <a:prstGeom prst="rect">
            <a:avLst/>
          </a:prstGeom>
        </p:spPr>
        <p:txBody>
          <a:bodyPr anchor="ctr"/>
          <a:lstStyle>
            <a:lvl1pPr marL="0" indent="0" algn="ctr">
              <a:buNone/>
              <a:defRPr sz="2000">
                <a:solidFill>
                  <a:schemeClr val="bg1"/>
                </a:solidFill>
                <a:latin typeface="+mn-lt"/>
              </a:defRPr>
            </a:lvl1pPr>
          </a:lstStyle>
          <a:p>
            <a:pPr lvl="0"/>
            <a:r>
              <a:rPr lang="en-US" dirty="0"/>
              <a:t>Sub Item 1</a:t>
            </a:r>
            <a:endParaRPr dirty="0"/>
          </a:p>
        </p:txBody>
      </p:sp>
      <p:sp>
        <p:nvSpPr>
          <p:cNvPr id="17" name="Text Placeholder 12">
            <a:extLst>
              <a:ext uri="{FF2B5EF4-FFF2-40B4-BE49-F238E27FC236}">
                <a16:creationId xmlns:a16="http://schemas.microsoft.com/office/drawing/2014/main" id="{703ED435-FFCD-344C-9284-14B9D0B32E22}"/>
              </a:ext>
            </a:extLst>
          </p:cNvPr>
          <p:cNvSpPr>
            <a:spLocks noGrp="1"/>
          </p:cNvSpPr>
          <p:nvPr>
            <p:ph type="body" sz="quarter" idx="13" hasCustomPrompt="1"/>
          </p:nvPr>
        </p:nvSpPr>
        <p:spPr>
          <a:xfrm>
            <a:off x="6565857" y="4715983"/>
            <a:ext cx="1513560" cy="832455"/>
          </a:xfrm>
          <a:prstGeom prst="rect">
            <a:avLst/>
          </a:prstGeom>
        </p:spPr>
        <p:txBody>
          <a:bodyPr anchor="ctr"/>
          <a:lstStyle>
            <a:lvl1pPr marL="0" indent="0" algn="ctr">
              <a:buNone/>
              <a:defRPr sz="2000">
                <a:solidFill>
                  <a:schemeClr val="bg1"/>
                </a:solidFill>
                <a:latin typeface="+mn-lt"/>
              </a:defRPr>
            </a:lvl1pPr>
          </a:lstStyle>
          <a:p>
            <a:pPr lvl="0"/>
            <a:r>
              <a:rPr lang="en-US" dirty="0"/>
              <a:t>Sub Item 1</a:t>
            </a:r>
            <a:endParaRPr dirty="0"/>
          </a:p>
        </p:txBody>
      </p:sp>
      <p:sp>
        <p:nvSpPr>
          <p:cNvPr id="18" name="Text Placeholder 12">
            <a:extLst>
              <a:ext uri="{FF2B5EF4-FFF2-40B4-BE49-F238E27FC236}">
                <a16:creationId xmlns:a16="http://schemas.microsoft.com/office/drawing/2014/main" id="{635F50BD-5E19-BF41-838D-14D3AC4C3EB4}"/>
              </a:ext>
            </a:extLst>
          </p:cNvPr>
          <p:cNvSpPr>
            <a:spLocks noGrp="1"/>
          </p:cNvSpPr>
          <p:nvPr>
            <p:ph type="body" sz="quarter" idx="14" hasCustomPrompt="1"/>
          </p:nvPr>
        </p:nvSpPr>
        <p:spPr>
          <a:xfrm>
            <a:off x="8778969" y="4715983"/>
            <a:ext cx="1513560" cy="832455"/>
          </a:xfrm>
          <a:prstGeom prst="rect">
            <a:avLst/>
          </a:prstGeom>
        </p:spPr>
        <p:txBody>
          <a:bodyPr anchor="ctr"/>
          <a:lstStyle>
            <a:lvl1pPr marL="0" indent="0" algn="ctr">
              <a:buNone/>
              <a:defRPr sz="2000">
                <a:solidFill>
                  <a:schemeClr val="bg1"/>
                </a:solidFill>
                <a:latin typeface="+mn-lt"/>
              </a:defRPr>
            </a:lvl1pPr>
          </a:lstStyle>
          <a:p>
            <a:pPr lvl="0"/>
            <a:r>
              <a:rPr lang="en-US" dirty="0"/>
              <a:t>Sub Item 1</a:t>
            </a:r>
            <a:endParaRPr dirty="0"/>
          </a:p>
        </p:txBody>
      </p:sp>
      <p:sp>
        <p:nvSpPr>
          <p:cNvPr id="19" name="Text Placeholder 12">
            <a:extLst>
              <a:ext uri="{FF2B5EF4-FFF2-40B4-BE49-F238E27FC236}">
                <a16:creationId xmlns:a16="http://schemas.microsoft.com/office/drawing/2014/main" id="{61D6D8AC-F82B-634C-B10E-C10CC894EFDA}"/>
              </a:ext>
            </a:extLst>
          </p:cNvPr>
          <p:cNvSpPr>
            <a:spLocks noGrp="1"/>
          </p:cNvSpPr>
          <p:nvPr>
            <p:ph type="body" sz="quarter" idx="10" hasCustomPrompt="1"/>
          </p:nvPr>
        </p:nvSpPr>
        <p:spPr>
          <a:xfrm>
            <a:off x="5225655" y="2200691"/>
            <a:ext cx="1821735" cy="832455"/>
          </a:xfrm>
          <a:prstGeom prst="rect">
            <a:avLst/>
          </a:prstGeom>
        </p:spPr>
        <p:txBody>
          <a:bodyPr anchor="ctr"/>
          <a:lstStyle>
            <a:lvl1pPr marL="0" indent="0" algn="ctr">
              <a:buNone/>
              <a:defRPr sz="2133">
                <a:solidFill>
                  <a:schemeClr val="bg1"/>
                </a:solidFill>
                <a:latin typeface="Crank 8 Plus Two" panose="02000506030000020004" pitchFamily="50" charset="0"/>
              </a:defRPr>
            </a:lvl1pPr>
          </a:lstStyle>
          <a:p>
            <a:pPr lvl="0"/>
            <a:r>
              <a:rPr lang="en-US" dirty="0"/>
              <a:t>Item</a:t>
            </a:r>
            <a:endParaRPr dirty="0"/>
          </a:p>
        </p:txBody>
      </p:sp>
      <p:grpSp>
        <p:nvGrpSpPr>
          <p:cNvPr id="28" name="Graphic 6">
            <a:extLst>
              <a:ext uri="{FF2B5EF4-FFF2-40B4-BE49-F238E27FC236}">
                <a16:creationId xmlns:a16="http://schemas.microsoft.com/office/drawing/2014/main" id="{9C4638F0-AEE3-480E-8B78-02973A97E792}"/>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9" name="Freeform: Shape 28">
              <a:extLst>
                <a:ext uri="{FF2B5EF4-FFF2-40B4-BE49-F238E27FC236}">
                  <a16:creationId xmlns:a16="http://schemas.microsoft.com/office/drawing/2014/main" id="{764EDDC1-60CE-4181-888E-76D806C64BB3}"/>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0" name="Freeform: Shape 29">
              <a:extLst>
                <a:ext uri="{FF2B5EF4-FFF2-40B4-BE49-F238E27FC236}">
                  <a16:creationId xmlns:a16="http://schemas.microsoft.com/office/drawing/2014/main" id="{017BEA0B-4FF7-4AAE-9A56-2C17E9B15626}"/>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0" name="Title 10">
            <a:extLst>
              <a:ext uri="{FF2B5EF4-FFF2-40B4-BE49-F238E27FC236}">
                <a16:creationId xmlns:a16="http://schemas.microsoft.com/office/drawing/2014/main" id="{3BE0FF22-AE66-4023-B258-41C468E41331}"/>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Organigram 2</a:t>
            </a:r>
          </a:p>
        </p:txBody>
      </p:sp>
    </p:spTree>
    <p:extLst>
      <p:ext uri="{BB962C8B-B14F-4D97-AF65-F5344CB8AC3E}">
        <p14:creationId xmlns:p14="http://schemas.microsoft.com/office/powerpoint/2010/main" val="3067064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cess infograph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0BB478-1FD1-7F42-B3F8-622B8A45671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189152"/>
            <a:ext cx="11365424" cy="1381760"/>
          </a:xfrm>
          <a:prstGeom prst="rect">
            <a:avLst/>
          </a:prstGeom>
        </p:spPr>
      </p:pic>
      <p:sp>
        <p:nvSpPr>
          <p:cNvPr id="4" name="Oval 11">
            <a:extLst>
              <a:ext uri="{FF2B5EF4-FFF2-40B4-BE49-F238E27FC236}">
                <a16:creationId xmlns:a16="http://schemas.microsoft.com/office/drawing/2014/main" id="{7E4BB37F-3EB6-0A40-9303-C60C886B20DA}"/>
              </a:ext>
            </a:extLst>
          </p:cNvPr>
          <p:cNvSpPr/>
          <p:nvPr userDrawn="1"/>
        </p:nvSpPr>
        <p:spPr>
          <a:xfrm>
            <a:off x="1216715" y="2932275"/>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991E66"/>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dirty="0">
                <a:solidFill>
                  <a:schemeClr val="bg1"/>
                </a:solidFill>
                <a:latin typeface="+mn-lt"/>
                <a:ea typeface="Roboto" charset="0"/>
                <a:cs typeface="Roboto" charset="0"/>
              </a:rPr>
              <a:t>1</a:t>
            </a:r>
            <a:endParaRPr sz="2133" b="1" dirty="0">
              <a:solidFill>
                <a:schemeClr val="bg1"/>
              </a:solidFill>
              <a:latin typeface="+mn-lt"/>
              <a:ea typeface="Roboto" charset="0"/>
              <a:cs typeface="Roboto" charset="0"/>
            </a:endParaRPr>
          </a:p>
        </p:txBody>
      </p:sp>
      <p:sp>
        <p:nvSpPr>
          <p:cNvPr id="6" name="Oval 11">
            <a:extLst>
              <a:ext uri="{FF2B5EF4-FFF2-40B4-BE49-F238E27FC236}">
                <a16:creationId xmlns:a16="http://schemas.microsoft.com/office/drawing/2014/main" id="{F89E3C14-2285-5A4D-A04B-289B3AAA9660}"/>
              </a:ext>
            </a:extLst>
          </p:cNvPr>
          <p:cNvSpPr/>
          <p:nvPr userDrawn="1"/>
        </p:nvSpPr>
        <p:spPr>
          <a:xfrm>
            <a:off x="2828670" y="3189155"/>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dirty="0">
                <a:solidFill>
                  <a:schemeClr val="bg1"/>
                </a:solidFill>
                <a:latin typeface="+mn-lt"/>
                <a:ea typeface="Roboto" charset="0"/>
                <a:cs typeface="Roboto" charset="0"/>
              </a:rPr>
              <a:t>2</a:t>
            </a:r>
            <a:endParaRPr sz="2133" b="1" dirty="0">
              <a:solidFill>
                <a:schemeClr val="bg1"/>
              </a:solidFill>
              <a:latin typeface="+mn-lt"/>
              <a:ea typeface="Roboto" charset="0"/>
              <a:cs typeface="Roboto" charset="0"/>
            </a:endParaRPr>
          </a:p>
        </p:txBody>
      </p:sp>
      <p:sp>
        <p:nvSpPr>
          <p:cNvPr id="8" name="Oval 11">
            <a:extLst>
              <a:ext uri="{FF2B5EF4-FFF2-40B4-BE49-F238E27FC236}">
                <a16:creationId xmlns:a16="http://schemas.microsoft.com/office/drawing/2014/main" id="{D9F8D4CB-78D0-ED45-9B29-2E16C67F3B3D}"/>
              </a:ext>
            </a:extLst>
          </p:cNvPr>
          <p:cNvSpPr/>
          <p:nvPr userDrawn="1"/>
        </p:nvSpPr>
        <p:spPr>
          <a:xfrm>
            <a:off x="4432861" y="3568291"/>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991E66"/>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a:solidFill>
                  <a:schemeClr val="bg1"/>
                </a:solidFill>
                <a:latin typeface="+mn-lt"/>
                <a:ea typeface="Roboto" charset="0"/>
                <a:cs typeface="Roboto" charset="0"/>
              </a:rPr>
              <a:t>3</a:t>
            </a:r>
            <a:endParaRPr sz="2133" b="1" dirty="0">
              <a:solidFill>
                <a:schemeClr val="bg1"/>
              </a:solidFill>
              <a:latin typeface="+mn-lt"/>
              <a:ea typeface="Roboto" charset="0"/>
              <a:cs typeface="Roboto" charset="0"/>
            </a:endParaRPr>
          </a:p>
        </p:txBody>
      </p:sp>
      <p:sp>
        <p:nvSpPr>
          <p:cNvPr id="10" name="Oval 11">
            <a:extLst>
              <a:ext uri="{FF2B5EF4-FFF2-40B4-BE49-F238E27FC236}">
                <a16:creationId xmlns:a16="http://schemas.microsoft.com/office/drawing/2014/main" id="{56965886-33CB-C244-B385-B600A0068250}"/>
              </a:ext>
            </a:extLst>
          </p:cNvPr>
          <p:cNvSpPr/>
          <p:nvPr userDrawn="1"/>
        </p:nvSpPr>
        <p:spPr>
          <a:xfrm>
            <a:off x="5937166" y="4024186"/>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dirty="0">
                <a:solidFill>
                  <a:schemeClr val="bg1"/>
                </a:solidFill>
                <a:latin typeface="+mn-lt"/>
                <a:ea typeface="Roboto" charset="0"/>
                <a:cs typeface="Roboto" charset="0"/>
              </a:rPr>
              <a:t>4</a:t>
            </a:r>
            <a:endParaRPr sz="2133" b="1" dirty="0">
              <a:solidFill>
                <a:schemeClr val="bg1"/>
              </a:solidFill>
              <a:latin typeface="+mn-lt"/>
              <a:ea typeface="Roboto" charset="0"/>
              <a:cs typeface="Roboto" charset="0"/>
            </a:endParaRPr>
          </a:p>
        </p:txBody>
      </p:sp>
      <p:sp>
        <p:nvSpPr>
          <p:cNvPr id="12" name="Oval 11">
            <a:extLst>
              <a:ext uri="{FF2B5EF4-FFF2-40B4-BE49-F238E27FC236}">
                <a16:creationId xmlns:a16="http://schemas.microsoft.com/office/drawing/2014/main" id="{CAF9FB14-4FB1-3347-A6CE-CF9C1E3CF7D0}"/>
              </a:ext>
            </a:extLst>
          </p:cNvPr>
          <p:cNvSpPr/>
          <p:nvPr userDrawn="1"/>
        </p:nvSpPr>
        <p:spPr>
          <a:xfrm>
            <a:off x="7637793" y="4277733"/>
            <a:ext cx="592287" cy="546727"/>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rgbClr val="991E66"/>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nl-BE" sz="2133" b="1" dirty="0">
                <a:solidFill>
                  <a:schemeClr val="bg1"/>
                </a:solidFill>
                <a:latin typeface="+mn-lt"/>
                <a:ea typeface="Roboto" charset="0"/>
                <a:cs typeface="Roboto" charset="0"/>
              </a:rPr>
              <a:t>5</a:t>
            </a:r>
            <a:endParaRPr sz="2133" b="1" dirty="0">
              <a:solidFill>
                <a:schemeClr val="bg1"/>
              </a:solidFill>
              <a:latin typeface="+mn-lt"/>
              <a:ea typeface="Roboto" charset="0"/>
              <a:cs typeface="Roboto" charset="0"/>
            </a:endParaRPr>
          </a:p>
        </p:txBody>
      </p:sp>
      <p:sp>
        <p:nvSpPr>
          <p:cNvPr id="14" name="Oval 11">
            <a:extLst>
              <a:ext uri="{FF2B5EF4-FFF2-40B4-BE49-F238E27FC236}">
                <a16:creationId xmlns:a16="http://schemas.microsoft.com/office/drawing/2014/main" id="{C3A207B2-D79A-9D4B-ACD5-8126E7FE5C6C}"/>
              </a:ext>
            </a:extLst>
          </p:cNvPr>
          <p:cNvSpPr/>
          <p:nvPr userDrawn="1"/>
        </p:nvSpPr>
        <p:spPr>
          <a:xfrm>
            <a:off x="9320163" y="2842229"/>
            <a:ext cx="2348637" cy="2365188"/>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 name="connsiteX0" fmla="*/ 0 w 632298"/>
              <a:gd name="connsiteY0" fmla="*/ 277239 h 583744"/>
              <a:gd name="connsiteX1" fmla="*/ 306421 w 632298"/>
              <a:gd name="connsiteY1" fmla="*/ 0 h 583744"/>
              <a:gd name="connsiteX2" fmla="*/ 632298 w 632298"/>
              <a:gd name="connsiteY2" fmla="*/ 277238 h 583744"/>
              <a:gd name="connsiteX3" fmla="*/ 306421 w 632298"/>
              <a:gd name="connsiteY3" fmla="*/ 583660 h 583744"/>
              <a:gd name="connsiteX4" fmla="*/ 0 w 632298"/>
              <a:gd name="connsiteY4" fmla="*/ 277239 h 583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744">
                <a:moveTo>
                  <a:pt x="0" y="277239"/>
                </a:moveTo>
                <a:cubicBezTo>
                  <a:pt x="0" y="128446"/>
                  <a:pt x="149165" y="0"/>
                  <a:pt x="306421" y="0"/>
                </a:cubicBezTo>
                <a:cubicBezTo>
                  <a:pt x="463677" y="0"/>
                  <a:pt x="608720" y="86626"/>
                  <a:pt x="632298" y="277238"/>
                </a:cubicBezTo>
                <a:cubicBezTo>
                  <a:pt x="632298" y="424980"/>
                  <a:pt x="519909" y="579337"/>
                  <a:pt x="306421" y="583660"/>
                </a:cubicBezTo>
                <a:cubicBezTo>
                  <a:pt x="92933" y="587983"/>
                  <a:pt x="0" y="426032"/>
                  <a:pt x="0" y="277239"/>
                </a:cubicBezTo>
                <a:close/>
              </a:path>
            </a:pathLst>
          </a:custGeom>
          <a:solidFill>
            <a:srgbClr val="ED8B02"/>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624000" rtlCol="0" anchor="ctr"/>
          <a:lstStyle/>
          <a:p>
            <a:pPr algn="ctr"/>
            <a:endParaRPr lang="nl-BE" sz="2133" b="1" dirty="0">
              <a:solidFill>
                <a:schemeClr val="bg1"/>
              </a:solidFill>
              <a:latin typeface="Crank 8 Plus Two" panose="02000506030000020004" pitchFamily="50" charset="0"/>
              <a:ea typeface="Roboto" charset="0"/>
              <a:cs typeface="Roboto" charset="0"/>
            </a:endParaRPr>
          </a:p>
        </p:txBody>
      </p:sp>
      <p:sp>
        <p:nvSpPr>
          <p:cNvPr id="22" name="Text Placeholder 21">
            <a:extLst>
              <a:ext uri="{FF2B5EF4-FFF2-40B4-BE49-F238E27FC236}">
                <a16:creationId xmlns:a16="http://schemas.microsoft.com/office/drawing/2014/main" id="{AFD52D45-445D-D844-A0ED-9506F11F0B6B}"/>
              </a:ext>
            </a:extLst>
          </p:cNvPr>
          <p:cNvSpPr>
            <a:spLocks noGrp="1"/>
          </p:cNvSpPr>
          <p:nvPr>
            <p:ph type="body" sz="quarter" idx="10" hasCustomPrompt="1"/>
          </p:nvPr>
        </p:nvSpPr>
        <p:spPr>
          <a:xfrm>
            <a:off x="523199" y="1897329"/>
            <a:ext cx="1979317" cy="861484"/>
          </a:xfrm>
          <a:prstGeom prst="rect">
            <a:avLst/>
          </a:prstGeom>
        </p:spPr>
        <p:txBody>
          <a:bodyPr lIns="90000" anchor="ctr"/>
          <a:lstStyle>
            <a:lvl1pPr marL="0" indent="0" algn="ctr">
              <a:buNone/>
              <a:defRPr sz="1867">
                <a:solidFill>
                  <a:schemeClr val="tx2"/>
                </a:solidFill>
                <a:latin typeface="+mn-lt"/>
              </a:defRPr>
            </a:lvl1pPr>
          </a:lstStyle>
          <a:p>
            <a:pPr lvl="0"/>
            <a:r>
              <a:rPr lang="en-US" dirty="0"/>
              <a:t>Click to add text</a:t>
            </a:r>
            <a:endParaRPr dirty="0"/>
          </a:p>
        </p:txBody>
      </p:sp>
      <p:sp>
        <p:nvSpPr>
          <p:cNvPr id="23" name="Text Placeholder 21">
            <a:extLst>
              <a:ext uri="{FF2B5EF4-FFF2-40B4-BE49-F238E27FC236}">
                <a16:creationId xmlns:a16="http://schemas.microsoft.com/office/drawing/2014/main" id="{3B8CE0E9-513C-DD44-B099-AD0BFF05D88B}"/>
              </a:ext>
            </a:extLst>
          </p:cNvPr>
          <p:cNvSpPr>
            <a:spLocks noGrp="1"/>
          </p:cNvSpPr>
          <p:nvPr>
            <p:ph type="body" sz="quarter" idx="11" hasCustomPrompt="1"/>
          </p:nvPr>
        </p:nvSpPr>
        <p:spPr>
          <a:xfrm>
            <a:off x="2135153" y="3897085"/>
            <a:ext cx="1979317" cy="861484"/>
          </a:xfrm>
          <a:prstGeom prst="rect">
            <a:avLst/>
          </a:prstGeom>
        </p:spPr>
        <p:txBody>
          <a:bodyPr lIns="90000" anchor="ctr"/>
          <a:lstStyle>
            <a:lvl1pPr marL="0" indent="0" algn="ctr">
              <a:buNone/>
              <a:defRPr sz="1867">
                <a:solidFill>
                  <a:schemeClr val="tx2"/>
                </a:solidFill>
                <a:latin typeface="+mn-lt"/>
              </a:defRPr>
            </a:lvl1pPr>
          </a:lstStyle>
          <a:p>
            <a:pPr lvl="0"/>
            <a:r>
              <a:rPr lang="en-US" dirty="0"/>
              <a:t>Click to add text</a:t>
            </a:r>
            <a:endParaRPr dirty="0"/>
          </a:p>
        </p:txBody>
      </p:sp>
      <p:sp>
        <p:nvSpPr>
          <p:cNvPr id="24" name="Text Placeholder 21">
            <a:extLst>
              <a:ext uri="{FF2B5EF4-FFF2-40B4-BE49-F238E27FC236}">
                <a16:creationId xmlns:a16="http://schemas.microsoft.com/office/drawing/2014/main" id="{C5FD9782-A50E-754D-B012-B5F918EC3D43}"/>
              </a:ext>
            </a:extLst>
          </p:cNvPr>
          <p:cNvSpPr>
            <a:spLocks noGrp="1"/>
          </p:cNvSpPr>
          <p:nvPr>
            <p:ph type="body" sz="quarter" idx="12" hasCustomPrompt="1"/>
          </p:nvPr>
        </p:nvSpPr>
        <p:spPr>
          <a:xfrm>
            <a:off x="3739344" y="2545127"/>
            <a:ext cx="1979317" cy="861484"/>
          </a:xfrm>
          <a:prstGeom prst="rect">
            <a:avLst/>
          </a:prstGeom>
        </p:spPr>
        <p:txBody>
          <a:bodyPr lIns="90000" anchor="ctr"/>
          <a:lstStyle>
            <a:lvl1pPr marL="0" indent="0" algn="ctr">
              <a:buNone/>
              <a:defRPr sz="1867">
                <a:solidFill>
                  <a:schemeClr val="tx2"/>
                </a:solidFill>
                <a:latin typeface="+mn-lt"/>
              </a:defRPr>
            </a:lvl1pPr>
          </a:lstStyle>
          <a:p>
            <a:pPr lvl="0"/>
            <a:r>
              <a:rPr lang="en-US" dirty="0"/>
              <a:t>Click to add text</a:t>
            </a:r>
            <a:endParaRPr dirty="0"/>
          </a:p>
        </p:txBody>
      </p:sp>
      <p:sp>
        <p:nvSpPr>
          <p:cNvPr id="25" name="Text Placeholder 21">
            <a:extLst>
              <a:ext uri="{FF2B5EF4-FFF2-40B4-BE49-F238E27FC236}">
                <a16:creationId xmlns:a16="http://schemas.microsoft.com/office/drawing/2014/main" id="{8FE3BCD8-1081-F14E-B38D-4DF2EEDD328E}"/>
              </a:ext>
            </a:extLst>
          </p:cNvPr>
          <p:cNvSpPr>
            <a:spLocks noGrp="1"/>
          </p:cNvSpPr>
          <p:nvPr>
            <p:ph type="body" sz="quarter" idx="13" hasCustomPrompt="1"/>
          </p:nvPr>
        </p:nvSpPr>
        <p:spPr>
          <a:xfrm>
            <a:off x="5243650" y="4720813"/>
            <a:ext cx="1979317" cy="861484"/>
          </a:xfrm>
          <a:prstGeom prst="rect">
            <a:avLst/>
          </a:prstGeom>
        </p:spPr>
        <p:txBody>
          <a:bodyPr lIns="90000" anchor="ctr"/>
          <a:lstStyle>
            <a:lvl1pPr marL="0" indent="0" algn="ctr">
              <a:buNone/>
              <a:defRPr sz="1867">
                <a:solidFill>
                  <a:schemeClr val="tx2"/>
                </a:solidFill>
                <a:latin typeface="+mn-lt"/>
              </a:defRPr>
            </a:lvl1pPr>
          </a:lstStyle>
          <a:p>
            <a:pPr lvl="0"/>
            <a:r>
              <a:rPr lang="en-US" dirty="0"/>
              <a:t>Click to add text</a:t>
            </a:r>
            <a:endParaRPr dirty="0"/>
          </a:p>
        </p:txBody>
      </p:sp>
      <p:sp>
        <p:nvSpPr>
          <p:cNvPr id="26" name="Text Placeholder 21">
            <a:extLst>
              <a:ext uri="{FF2B5EF4-FFF2-40B4-BE49-F238E27FC236}">
                <a16:creationId xmlns:a16="http://schemas.microsoft.com/office/drawing/2014/main" id="{564F5A92-30D1-C545-B34E-25D23C66ACD6}"/>
              </a:ext>
            </a:extLst>
          </p:cNvPr>
          <p:cNvSpPr>
            <a:spLocks noGrp="1"/>
          </p:cNvSpPr>
          <p:nvPr>
            <p:ph type="body" sz="quarter" idx="14" hasCustomPrompt="1"/>
          </p:nvPr>
        </p:nvSpPr>
        <p:spPr>
          <a:xfrm>
            <a:off x="6945430" y="3270657"/>
            <a:ext cx="1979317" cy="861484"/>
          </a:xfrm>
          <a:prstGeom prst="rect">
            <a:avLst/>
          </a:prstGeom>
        </p:spPr>
        <p:txBody>
          <a:bodyPr lIns="90000" anchor="ctr"/>
          <a:lstStyle>
            <a:lvl1pPr marL="0" indent="0" algn="ctr">
              <a:buNone/>
              <a:defRPr sz="1867">
                <a:solidFill>
                  <a:schemeClr val="tx2"/>
                </a:solidFill>
                <a:latin typeface="+mn-lt"/>
              </a:defRPr>
            </a:lvl1pPr>
          </a:lstStyle>
          <a:p>
            <a:pPr lvl="0"/>
            <a:r>
              <a:rPr lang="en-US" dirty="0"/>
              <a:t>Click to add text</a:t>
            </a:r>
            <a:endParaRPr dirty="0"/>
          </a:p>
        </p:txBody>
      </p:sp>
      <p:sp>
        <p:nvSpPr>
          <p:cNvPr id="27" name="Text Placeholder 21">
            <a:extLst>
              <a:ext uri="{FF2B5EF4-FFF2-40B4-BE49-F238E27FC236}">
                <a16:creationId xmlns:a16="http://schemas.microsoft.com/office/drawing/2014/main" id="{F8B04C9B-7051-7F41-9B52-253A344853C2}"/>
              </a:ext>
            </a:extLst>
          </p:cNvPr>
          <p:cNvSpPr>
            <a:spLocks noGrp="1"/>
          </p:cNvSpPr>
          <p:nvPr>
            <p:ph type="body" sz="quarter" idx="15" hasCustomPrompt="1"/>
          </p:nvPr>
        </p:nvSpPr>
        <p:spPr>
          <a:xfrm>
            <a:off x="9516597" y="3915010"/>
            <a:ext cx="1940073" cy="861484"/>
          </a:xfrm>
          <a:prstGeom prst="rect">
            <a:avLst/>
          </a:prstGeom>
        </p:spPr>
        <p:txBody>
          <a:bodyPr anchor="ctr"/>
          <a:lstStyle>
            <a:lvl1pPr marL="0" indent="0" algn="ctr">
              <a:buNone/>
              <a:defRPr sz="2133" b="1">
                <a:solidFill>
                  <a:schemeClr val="bg1"/>
                </a:solidFill>
                <a:latin typeface="Crank 8 Plus Two" panose="02000506030000020004" pitchFamily="50" charset="0"/>
              </a:defRPr>
            </a:lvl1pPr>
          </a:lstStyle>
          <a:p>
            <a:pPr lvl="0"/>
            <a:r>
              <a:rPr lang="en-US" dirty="0"/>
              <a:t>Click to add text</a:t>
            </a:r>
            <a:endParaRPr dirty="0"/>
          </a:p>
        </p:txBody>
      </p:sp>
      <p:sp>
        <p:nvSpPr>
          <p:cNvPr id="30" name="Picture Placeholder 29">
            <a:extLst>
              <a:ext uri="{FF2B5EF4-FFF2-40B4-BE49-F238E27FC236}">
                <a16:creationId xmlns:a16="http://schemas.microsoft.com/office/drawing/2014/main" id="{0076C6CC-0E51-F445-9EB5-52876C214329}"/>
              </a:ext>
            </a:extLst>
          </p:cNvPr>
          <p:cNvSpPr>
            <a:spLocks noGrp="1"/>
          </p:cNvSpPr>
          <p:nvPr>
            <p:ph type="pic" sz="quarter" idx="16" hasCustomPrompt="1"/>
          </p:nvPr>
        </p:nvSpPr>
        <p:spPr>
          <a:xfrm>
            <a:off x="10020402" y="2949900"/>
            <a:ext cx="926575" cy="805121"/>
          </a:xfrm>
          <a:prstGeom prst="rect">
            <a:avLst/>
          </a:prstGeom>
        </p:spPr>
        <p:txBody>
          <a:bodyPr anchor="ctr"/>
          <a:lstStyle>
            <a:lvl1pPr marL="0" indent="0" algn="ctr">
              <a:buNone/>
              <a:defRPr sz="1333">
                <a:solidFill>
                  <a:schemeClr val="bg1"/>
                </a:solidFill>
                <a:latin typeface="Crank 8 Plus Two" panose="02000506030000020004" pitchFamily="50" charset="0"/>
              </a:defRPr>
            </a:lvl1pPr>
          </a:lstStyle>
          <a:p>
            <a:r>
              <a:rPr lang="nl-BE" sz="1333" dirty="0"/>
              <a:t>icon</a:t>
            </a:r>
            <a:endParaRPr dirty="0"/>
          </a:p>
        </p:txBody>
      </p:sp>
      <p:grpSp>
        <p:nvGrpSpPr>
          <p:cNvPr id="36" name="Graphic 6">
            <a:extLst>
              <a:ext uri="{FF2B5EF4-FFF2-40B4-BE49-F238E27FC236}">
                <a16:creationId xmlns:a16="http://schemas.microsoft.com/office/drawing/2014/main" id="{3B36697C-ACF4-401D-8854-FE5057AA2B1A}"/>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7" name="Freeform: Shape 36">
              <a:extLst>
                <a:ext uri="{FF2B5EF4-FFF2-40B4-BE49-F238E27FC236}">
                  <a16:creationId xmlns:a16="http://schemas.microsoft.com/office/drawing/2014/main" id="{9391B5C5-8EEE-4AFC-90F1-A05832F1979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8" name="Freeform: Shape 37">
              <a:extLst>
                <a:ext uri="{FF2B5EF4-FFF2-40B4-BE49-F238E27FC236}">
                  <a16:creationId xmlns:a16="http://schemas.microsoft.com/office/drawing/2014/main" id="{42E3A7C7-EF9B-46FD-AD3A-A5E290E5E03A}"/>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1" name="Title 10">
            <a:extLst>
              <a:ext uri="{FF2B5EF4-FFF2-40B4-BE49-F238E27FC236}">
                <a16:creationId xmlns:a16="http://schemas.microsoft.com/office/drawing/2014/main" id="{A5B60B81-0BF1-4004-8FDA-C8F340C8B64A}"/>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Process infographic</a:t>
            </a:r>
          </a:p>
        </p:txBody>
      </p:sp>
    </p:spTree>
    <p:extLst>
      <p:ext uri="{BB962C8B-B14F-4D97-AF65-F5344CB8AC3E}">
        <p14:creationId xmlns:p14="http://schemas.microsoft.com/office/powerpoint/2010/main" val="359540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cess infographic 2">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A0B4B21-1A7A-4C43-8181-8D36993CF21E}"/>
              </a:ext>
            </a:extLst>
          </p:cNvPr>
          <p:cNvCxnSpPr/>
          <p:nvPr userDrawn="1"/>
        </p:nvCxnSpPr>
        <p:spPr>
          <a:xfrm>
            <a:off x="2463357" y="4503987"/>
            <a:ext cx="0" cy="678071"/>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4" name="AutoShape 2">
            <a:extLst>
              <a:ext uri="{FF2B5EF4-FFF2-40B4-BE49-F238E27FC236}">
                <a16:creationId xmlns:a16="http://schemas.microsoft.com/office/drawing/2014/main" id="{A91D3C51-9A07-5548-B215-703F6835DB89}"/>
              </a:ext>
            </a:extLst>
          </p:cNvPr>
          <p:cNvSpPr>
            <a:spLocks/>
          </p:cNvSpPr>
          <p:nvPr userDrawn="1"/>
        </p:nvSpPr>
        <p:spPr bwMode="auto">
          <a:xfrm>
            <a:off x="1362491" y="3856829"/>
            <a:ext cx="2201733" cy="662944"/>
          </a:xfrm>
          <a:custGeom>
            <a:avLst/>
            <a:gdLst>
              <a:gd name="T0" fmla="*/ 10800 w 21600"/>
              <a:gd name="T1" fmla="*/ 9839 h 19679"/>
              <a:gd name="T2" fmla="*/ 10800 w 21600"/>
              <a:gd name="T3" fmla="*/ 9839 h 19679"/>
              <a:gd name="T4" fmla="*/ 10800 w 21600"/>
              <a:gd name="T5" fmla="*/ 9839 h 19679"/>
              <a:gd name="T6" fmla="*/ 10800 w 21600"/>
              <a:gd name="T7" fmla="*/ 9839 h 19679"/>
              <a:gd name="connsiteX0" fmla="*/ 0 w 21600"/>
              <a:gd name="connsiteY0" fmla="*/ 0 h 20159"/>
              <a:gd name="connsiteX1" fmla="*/ 2983 w 21600"/>
              <a:gd name="connsiteY1" fmla="*/ 14836 h 20159"/>
              <a:gd name="connsiteX2" fmla="*/ 18435 w 21600"/>
              <a:gd name="connsiteY2" fmla="*/ 13914 h 20159"/>
              <a:gd name="connsiteX3" fmla="*/ 21600 w 21600"/>
              <a:gd name="connsiteY3" fmla="*/ 0 h 20159"/>
              <a:gd name="connsiteX4" fmla="*/ 0 w 21600"/>
              <a:gd name="connsiteY4" fmla="*/ 0 h 20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0159">
                <a:moveTo>
                  <a:pt x="0" y="0"/>
                </a:moveTo>
                <a:cubicBezTo>
                  <a:pt x="0" y="5036"/>
                  <a:pt x="874" y="10993"/>
                  <a:pt x="2983" y="14836"/>
                </a:cubicBezTo>
                <a:cubicBezTo>
                  <a:pt x="7200" y="22521"/>
                  <a:pt x="14217" y="21599"/>
                  <a:pt x="18435" y="13914"/>
                </a:cubicBezTo>
                <a:cubicBezTo>
                  <a:pt x="20544" y="10071"/>
                  <a:pt x="21600" y="5036"/>
                  <a:pt x="21600" y="0"/>
                </a:cubicBezTo>
                <a:lnTo>
                  <a:pt x="0" y="0"/>
                </a:ln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067" dirty="0">
              <a:solidFill>
                <a:srgbClr val="B7EDE6"/>
              </a:solidFill>
              <a:latin typeface="Crank 8 Plus Two" panose="02000506030000020004" pitchFamily="50" charset="0"/>
              <a:cs typeface="Roboto" panose="02000000000000000000" pitchFamily="2" charset="0"/>
              <a:sym typeface="Helvetica Light" charset="0"/>
            </a:endParaRPr>
          </a:p>
        </p:txBody>
      </p:sp>
      <p:sp>
        <p:nvSpPr>
          <p:cNvPr id="5" name="AutoShape 4">
            <a:extLst>
              <a:ext uri="{FF2B5EF4-FFF2-40B4-BE49-F238E27FC236}">
                <a16:creationId xmlns:a16="http://schemas.microsoft.com/office/drawing/2014/main" id="{02252BE6-5697-3648-B8CD-EB6AF8B94BBE}"/>
              </a:ext>
            </a:extLst>
          </p:cNvPr>
          <p:cNvSpPr>
            <a:spLocks/>
          </p:cNvSpPr>
          <p:nvPr userDrawn="1"/>
        </p:nvSpPr>
        <p:spPr bwMode="auto">
          <a:xfrm>
            <a:off x="2138820" y="5191213"/>
            <a:ext cx="654017" cy="635673"/>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796 w 20135"/>
              <a:gd name="connsiteY0" fmla="*/ 2345 h 19141"/>
              <a:gd name="connsiteX1" fmla="*/ 18220 w 20135"/>
              <a:gd name="connsiteY1" fmla="*/ 16260 h 19141"/>
              <a:gd name="connsiteX2" fmla="*/ 2881 w 20135"/>
              <a:gd name="connsiteY2" fmla="*/ 16260 h 19141"/>
              <a:gd name="connsiteX3" fmla="*/ 2881 w 20135"/>
              <a:gd name="connsiteY3" fmla="*/ 2345 h 19141"/>
              <a:gd name="connsiteX4" fmla="*/ 16796 w 20135"/>
              <a:gd name="connsiteY4" fmla="*/ 2345 h 19141"/>
              <a:gd name="connsiteX0" fmla="*/ 16810 w 19536"/>
              <a:gd name="connsiteY0" fmla="*/ 1778 h 18445"/>
              <a:gd name="connsiteX1" fmla="*/ 18234 w 19536"/>
              <a:gd name="connsiteY1" fmla="*/ 15693 h 18445"/>
              <a:gd name="connsiteX2" fmla="*/ 2081 w 19536"/>
              <a:gd name="connsiteY2" fmla="*/ 16303 h 18445"/>
              <a:gd name="connsiteX3" fmla="*/ 2895 w 19536"/>
              <a:gd name="connsiteY3" fmla="*/ 1778 h 18445"/>
              <a:gd name="connsiteX4" fmla="*/ 16810 w 19536"/>
              <a:gd name="connsiteY4" fmla="*/ 1778 h 18445"/>
              <a:gd name="connsiteX0" fmla="*/ 16810 w 19536"/>
              <a:gd name="connsiteY0" fmla="*/ 1530 h 18837"/>
              <a:gd name="connsiteX1" fmla="*/ 18234 w 19536"/>
              <a:gd name="connsiteY1" fmla="*/ 16055 h 18837"/>
              <a:gd name="connsiteX2" fmla="*/ 2081 w 19536"/>
              <a:gd name="connsiteY2" fmla="*/ 16665 h 18837"/>
              <a:gd name="connsiteX3" fmla="*/ 2895 w 19536"/>
              <a:gd name="connsiteY3" fmla="*/ 2140 h 18837"/>
              <a:gd name="connsiteX4" fmla="*/ 16810 w 19536"/>
              <a:gd name="connsiteY4" fmla="*/ 1530 h 18837"/>
              <a:gd name="connsiteX0" fmla="*/ 16810 w 19857"/>
              <a:gd name="connsiteY0" fmla="*/ 1993 h 19300"/>
              <a:gd name="connsiteX1" fmla="*/ 18234 w 19857"/>
              <a:gd name="connsiteY1" fmla="*/ 16518 h 19300"/>
              <a:gd name="connsiteX2" fmla="*/ 2081 w 19857"/>
              <a:gd name="connsiteY2" fmla="*/ 17128 h 19300"/>
              <a:gd name="connsiteX3" fmla="*/ 2895 w 19857"/>
              <a:gd name="connsiteY3" fmla="*/ 2603 h 19300"/>
              <a:gd name="connsiteX4" fmla="*/ 16810 w 19857"/>
              <a:gd name="connsiteY4" fmla="*/ 1993 h 1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57" h="19300">
                <a:moveTo>
                  <a:pt x="16810" y="1993"/>
                </a:moveTo>
                <a:cubicBezTo>
                  <a:pt x="20472" y="5417"/>
                  <a:pt x="20689" y="13996"/>
                  <a:pt x="18234" y="16518"/>
                </a:cubicBezTo>
                <a:cubicBezTo>
                  <a:pt x="15779" y="19041"/>
                  <a:pt x="5924" y="20970"/>
                  <a:pt x="2081" y="17128"/>
                </a:cubicBezTo>
                <a:cubicBezTo>
                  <a:pt x="-1761" y="13285"/>
                  <a:pt x="440" y="5126"/>
                  <a:pt x="2895" y="2603"/>
                </a:cubicBezTo>
                <a:cubicBezTo>
                  <a:pt x="5350" y="80"/>
                  <a:pt x="13148" y="-1431"/>
                  <a:pt x="16810" y="1993"/>
                </a:cubicBezTo>
                <a:close/>
              </a:path>
            </a:pathLst>
          </a:custGeom>
          <a:solidFill>
            <a:srgbClr val="ED8B02"/>
          </a:solidFill>
          <a:ln>
            <a:noFill/>
          </a:ln>
          <a:effectLst/>
        </p:spPr>
        <p:txBody>
          <a:bodyPr lIns="67733" tIns="0"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r>
              <a:rPr lang="id-ID" sz="1867" b="1" dirty="0">
                <a:solidFill>
                  <a:schemeClr val="bg1"/>
                </a:solidFill>
                <a:latin typeface="+mn-lt"/>
                <a:ea typeface="Roboto" charset="0"/>
                <a:cs typeface="Roboto" charset="0"/>
                <a:sym typeface="Helvetica Light" charset="0"/>
              </a:rPr>
              <a:t>01</a:t>
            </a:r>
          </a:p>
        </p:txBody>
      </p:sp>
      <p:sp>
        <p:nvSpPr>
          <p:cNvPr id="6" name="AutoShape 7">
            <a:extLst>
              <a:ext uri="{FF2B5EF4-FFF2-40B4-BE49-F238E27FC236}">
                <a16:creationId xmlns:a16="http://schemas.microsoft.com/office/drawing/2014/main" id="{84E9DCF7-CDEA-B744-9E22-8279B70AB693}"/>
              </a:ext>
            </a:extLst>
          </p:cNvPr>
          <p:cNvSpPr>
            <a:spLocks/>
          </p:cNvSpPr>
          <p:nvPr userDrawn="1"/>
        </p:nvSpPr>
        <p:spPr bwMode="auto">
          <a:xfrm>
            <a:off x="6170806" y="3856828"/>
            <a:ext cx="2201733" cy="625125"/>
          </a:xfrm>
          <a:custGeom>
            <a:avLst/>
            <a:gdLst>
              <a:gd name="T0" fmla="*/ 10800 w 21600"/>
              <a:gd name="T1" fmla="*/ 9839 h 19679"/>
              <a:gd name="T2" fmla="*/ 10800 w 21600"/>
              <a:gd name="T3" fmla="*/ 9839 h 19679"/>
              <a:gd name="T4" fmla="*/ 10800 w 21600"/>
              <a:gd name="T5" fmla="*/ 9839 h 19679"/>
              <a:gd name="T6" fmla="*/ 10800 w 21600"/>
              <a:gd name="T7" fmla="*/ 9839 h 19679"/>
              <a:gd name="connsiteX0" fmla="*/ 0 w 21600"/>
              <a:gd name="connsiteY0" fmla="*/ 0 h 19009"/>
              <a:gd name="connsiteX1" fmla="*/ 3162 w 21600"/>
              <a:gd name="connsiteY1" fmla="*/ 13914 h 19009"/>
              <a:gd name="connsiteX2" fmla="*/ 18435 w 21600"/>
              <a:gd name="connsiteY2" fmla="*/ 13914 h 19009"/>
              <a:gd name="connsiteX3" fmla="*/ 21600 w 21600"/>
              <a:gd name="connsiteY3" fmla="*/ 0 h 19009"/>
              <a:gd name="connsiteX4" fmla="*/ 0 w 21600"/>
              <a:gd name="connsiteY4" fmla="*/ 0 h 19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19009">
                <a:moveTo>
                  <a:pt x="0" y="0"/>
                </a:moveTo>
                <a:cubicBezTo>
                  <a:pt x="0" y="5036"/>
                  <a:pt x="1053" y="10071"/>
                  <a:pt x="3162" y="13914"/>
                </a:cubicBezTo>
                <a:cubicBezTo>
                  <a:pt x="7379" y="21599"/>
                  <a:pt x="13205" y="19755"/>
                  <a:pt x="18435" y="13914"/>
                </a:cubicBezTo>
                <a:cubicBezTo>
                  <a:pt x="20544" y="10071"/>
                  <a:pt x="21600" y="5036"/>
                  <a:pt x="21600" y="0"/>
                </a:cubicBezTo>
                <a:lnTo>
                  <a:pt x="0" y="0"/>
                </a:lnTo>
                <a:close/>
              </a:path>
            </a:pathLst>
          </a:custGeom>
          <a:solidFill>
            <a:schemeClr val="accent4"/>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067" dirty="0">
              <a:solidFill>
                <a:srgbClr val="F6DC68"/>
              </a:solidFill>
              <a:latin typeface="Crank 8 Plus Two" panose="02000506030000020004" pitchFamily="50" charset="0"/>
              <a:cs typeface="Roboto" panose="02000000000000000000" pitchFamily="2" charset="0"/>
              <a:sym typeface="Helvetica Light" charset="0"/>
            </a:endParaRPr>
          </a:p>
        </p:txBody>
      </p:sp>
      <p:sp>
        <p:nvSpPr>
          <p:cNvPr id="7" name="AutoShape 9">
            <a:extLst>
              <a:ext uri="{FF2B5EF4-FFF2-40B4-BE49-F238E27FC236}">
                <a16:creationId xmlns:a16="http://schemas.microsoft.com/office/drawing/2014/main" id="{4A7D7701-A390-D94C-8E38-342B6FF1DA88}"/>
              </a:ext>
            </a:extLst>
          </p:cNvPr>
          <p:cNvSpPr>
            <a:spLocks/>
          </p:cNvSpPr>
          <p:nvPr userDrawn="1"/>
        </p:nvSpPr>
        <p:spPr bwMode="auto">
          <a:xfrm>
            <a:off x="6965063" y="5204193"/>
            <a:ext cx="620453" cy="621379"/>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649 w 18867"/>
              <a:gd name="connsiteY0" fmla="*/ 2219 h 18866"/>
              <a:gd name="connsiteX1" fmla="*/ 16280 w 18867"/>
              <a:gd name="connsiteY1" fmla="*/ 16502 h 18866"/>
              <a:gd name="connsiteX2" fmla="*/ 2365 w 18867"/>
              <a:gd name="connsiteY2" fmla="*/ 16502 h 18866"/>
              <a:gd name="connsiteX3" fmla="*/ 2365 w 18867"/>
              <a:gd name="connsiteY3" fmla="*/ 2587 h 18866"/>
              <a:gd name="connsiteX4" fmla="*/ 16649 w 18867"/>
              <a:gd name="connsiteY4" fmla="*/ 2219 h 18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67" h="18866">
                <a:moveTo>
                  <a:pt x="16649" y="2219"/>
                </a:moveTo>
                <a:cubicBezTo>
                  <a:pt x="20491" y="6062"/>
                  <a:pt x="18661" y="14122"/>
                  <a:pt x="16280" y="16502"/>
                </a:cubicBezTo>
                <a:cubicBezTo>
                  <a:pt x="13899" y="18882"/>
                  <a:pt x="6208" y="20344"/>
                  <a:pt x="2365" y="16502"/>
                </a:cubicBezTo>
                <a:cubicBezTo>
                  <a:pt x="-1477" y="12659"/>
                  <a:pt x="-16" y="4967"/>
                  <a:pt x="2365" y="2587"/>
                </a:cubicBezTo>
                <a:cubicBezTo>
                  <a:pt x="4746" y="207"/>
                  <a:pt x="12806" y="-1623"/>
                  <a:pt x="16649" y="2219"/>
                </a:cubicBezTo>
                <a:close/>
              </a:path>
            </a:pathLst>
          </a:custGeom>
          <a:solidFill>
            <a:schemeClr val="accent4"/>
          </a:solidFill>
          <a:ln>
            <a:noFill/>
          </a:ln>
          <a:effectLst/>
        </p:spPr>
        <p:txBody>
          <a:bodyPr lIns="67733" tIns="0"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r>
              <a:rPr lang="id-ID" sz="2133" b="1" dirty="0">
                <a:solidFill>
                  <a:schemeClr val="bg1"/>
                </a:solidFill>
                <a:latin typeface="+mn-lt"/>
                <a:ea typeface="Roboto" charset="0"/>
                <a:cs typeface="Roboto" charset="0"/>
                <a:sym typeface="Helvetica Light" charset="0"/>
              </a:rPr>
              <a:t>03</a:t>
            </a:r>
          </a:p>
        </p:txBody>
      </p:sp>
      <p:sp>
        <p:nvSpPr>
          <p:cNvPr id="8" name="AutoShape 17">
            <a:extLst>
              <a:ext uri="{FF2B5EF4-FFF2-40B4-BE49-F238E27FC236}">
                <a16:creationId xmlns:a16="http://schemas.microsoft.com/office/drawing/2014/main" id="{1F35A71B-D0CC-6843-AD27-09739FA2CF84}"/>
              </a:ext>
            </a:extLst>
          </p:cNvPr>
          <p:cNvSpPr>
            <a:spLocks/>
          </p:cNvSpPr>
          <p:nvPr userDrawn="1"/>
        </p:nvSpPr>
        <p:spPr bwMode="auto">
          <a:xfrm rot="10800000" flipH="1">
            <a:off x="3766650" y="3235804"/>
            <a:ext cx="2201733" cy="623019"/>
          </a:xfrm>
          <a:custGeom>
            <a:avLst/>
            <a:gdLst>
              <a:gd name="T0" fmla="*/ 10800 w 21600"/>
              <a:gd name="T1" fmla="*/ 9839 h 19679"/>
              <a:gd name="T2" fmla="*/ 10800 w 21600"/>
              <a:gd name="T3" fmla="*/ 9839 h 19679"/>
              <a:gd name="T4" fmla="*/ 10800 w 21600"/>
              <a:gd name="T5" fmla="*/ 9839 h 19679"/>
              <a:gd name="T6" fmla="*/ 10800 w 21600"/>
              <a:gd name="T7" fmla="*/ 9839 h 19679"/>
              <a:gd name="connsiteX0" fmla="*/ 0 w 21600"/>
              <a:gd name="connsiteY0" fmla="*/ 0 h 18945"/>
              <a:gd name="connsiteX1" fmla="*/ 3162 w 21600"/>
              <a:gd name="connsiteY1" fmla="*/ 13914 h 18945"/>
              <a:gd name="connsiteX2" fmla="*/ 18435 w 21600"/>
              <a:gd name="connsiteY2" fmla="*/ 13914 h 18945"/>
              <a:gd name="connsiteX3" fmla="*/ 21600 w 21600"/>
              <a:gd name="connsiteY3" fmla="*/ 0 h 18945"/>
              <a:gd name="connsiteX4" fmla="*/ 0 w 21600"/>
              <a:gd name="connsiteY4" fmla="*/ 0 h 18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18945">
                <a:moveTo>
                  <a:pt x="0" y="0"/>
                </a:moveTo>
                <a:cubicBezTo>
                  <a:pt x="0" y="5036"/>
                  <a:pt x="1053" y="10071"/>
                  <a:pt x="3162" y="13914"/>
                </a:cubicBezTo>
                <a:cubicBezTo>
                  <a:pt x="7379" y="21599"/>
                  <a:pt x="14158" y="19570"/>
                  <a:pt x="18435" y="13914"/>
                </a:cubicBezTo>
                <a:cubicBezTo>
                  <a:pt x="20544" y="10071"/>
                  <a:pt x="21600" y="5036"/>
                  <a:pt x="21600" y="0"/>
                </a:cubicBezTo>
                <a:lnTo>
                  <a:pt x="0" y="0"/>
                </a:lnTo>
                <a:close/>
              </a:path>
            </a:pathLst>
          </a:custGeom>
          <a:solidFill>
            <a:schemeClr val="accent3"/>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067" dirty="0">
              <a:solidFill>
                <a:srgbClr val="B7EDE6"/>
              </a:solidFill>
              <a:latin typeface="Crank 8 Plus Two" panose="02000506030000020004" pitchFamily="50" charset="0"/>
              <a:cs typeface="Roboto" panose="02000000000000000000" pitchFamily="2" charset="0"/>
              <a:sym typeface="Helvetica Light" charset="0"/>
            </a:endParaRPr>
          </a:p>
        </p:txBody>
      </p:sp>
      <p:sp>
        <p:nvSpPr>
          <p:cNvPr id="9" name="AutoShape 18">
            <a:extLst>
              <a:ext uri="{FF2B5EF4-FFF2-40B4-BE49-F238E27FC236}">
                <a16:creationId xmlns:a16="http://schemas.microsoft.com/office/drawing/2014/main" id="{7BB3EE9B-D26A-894D-8C31-966523D33325}"/>
              </a:ext>
            </a:extLst>
          </p:cNvPr>
          <p:cNvSpPr>
            <a:spLocks/>
          </p:cNvSpPr>
          <p:nvPr userDrawn="1"/>
        </p:nvSpPr>
        <p:spPr bwMode="auto">
          <a:xfrm flipH="1">
            <a:off x="4536271" y="1902107"/>
            <a:ext cx="625859" cy="625859"/>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6628 w 19002"/>
              <a:gd name="connsiteY0" fmla="*/ 2375 h 19002"/>
              <a:gd name="connsiteX1" fmla="*/ 16628 w 19002"/>
              <a:gd name="connsiteY1" fmla="*/ 16290 h 19002"/>
              <a:gd name="connsiteX2" fmla="*/ 2160 w 19002"/>
              <a:gd name="connsiteY2" fmla="*/ 16842 h 19002"/>
              <a:gd name="connsiteX3" fmla="*/ 2713 w 19002"/>
              <a:gd name="connsiteY3" fmla="*/ 2375 h 19002"/>
              <a:gd name="connsiteX4" fmla="*/ 16628 w 19002"/>
              <a:gd name="connsiteY4" fmla="*/ 2375 h 19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02" h="19002">
                <a:moveTo>
                  <a:pt x="16628" y="2375"/>
                </a:moveTo>
                <a:cubicBezTo>
                  <a:pt x="20470" y="6218"/>
                  <a:pt x="19039" y="13879"/>
                  <a:pt x="16628" y="16290"/>
                </a:cubicBezTo>
                <a:cubicBezTo>
                  <a:pt x="14217" y="18701"/>
                  <a:pt x="6003" y="20684"/>
                  <a:pt x="2160" y="16842"/>
                </a:cubicBezTo>
                <a:cubicBezTo>
                  <a:pt x="-1682" y="12999"/>
                  <a:pt x="302" y="4786"/>
                  <a:pt x="2713" y="2375"/>
                </a:cubicBezTo>
                <a:cubicBezTo>
                  <a:pt x="5124" y="-36"/>
                  <a:pt x="12785" y="-1467"/>
                  <a:pt x="16628" y="2375"/>
                </a:cubicBezTo>
                <a:close/>
              </a:path>
            </a:pathLst>
          </a:custGeom>
          <a:solidFill>
            <a:schemeClr val="accent3"/>
          </a:solidFill>
          <a:ln>
            <a:noFill/>
          </a:ln>
          <a:effectLst/>
        </p:spPr>
        <p:txBody>
          <a:bodyPr lIns="67733" tIns="0"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r>
              <a:rPr lang="id-ID" sz="2133" b="1" dirty="0">
                <a:solidFill>
                  <a:schemeClr val="bg1"/>
                </a:solidFill>
                <a:latin typeface="+mn-lt"/>
                <a:ea typeface="Roboto" charset="0"/>
                <a:cs typeface="Roboto" charset="0"/>
                <a:sym typeface="Helvetica Light" charset="0"/>
              </a:rPr>
              <a:t>02</a:t>
            </a:r>
          </a:p>
        </p:txBody>
      </p:sp>
      <p:sp>
        <p:nvSpPr>
          <p:cNvPr id="10" name="AutoShape 22">
            <a:extLst>
              <a:ext uri="{FF2B5EF4-FFF2-40B4-BE49-F238E27FC236}">
                <a16:creationId xmlns:a16="http://schemas.microsoft.com/office/drawing/2014/main" id="{A63D0EFD-D26E-6447-A1FE-DEFDCCEE137F}"/>
              </a:ext>
            </a:extLst>
          </p:cNvPr>
          <p:cNvSpPr>
            <a:spLocks/>
          </p:cNvSpPr>
          <p:nvPr userDrawn="1"/>
        </p:nvSpPr>
        <p:spPr bwMode="auto">
          <a:xfrm rot="10800000" flipH="1">
            <a:off x="8573967" y="3202522"/>
            <a:ext cx="2201733" cy="656300"/>
          </a:xfrm>
          <a:custGeom>
            <a:avLst/>
            <a:gdLst>
              <a:gd name="T0" fmla="*/ 10800 w 21600"/>
              <a:gd name="T1" fmla="*/ 9839 h 19679"/>
              <a:gd name="T2" fmla="*/ 10800 w 21600"/>
              <a:gd name="T3" fmla="*/ 9839 h 19679"/>
              <a:gd name="T4" fmla="*/ 10800 w 21600"/>
              <a:gd name="T5" fmla="*/ 9839 h 19679"/>
              <a:gd name="T6" fmla="*/ 10800 w 21600"/>
              <a:gd name="T7" fmla="*/ 9839 h 19679"/>
              <a:gd name="connsiteX0" fmla="*/ 0 w 21600"/>
              <a:gd name="connsiteY0" fmla="*/ 0 h 19957"/>
              <a:gd name="connsiteX1" fmla="*/ 3162 w 21600"/>
              <a:gd name="connsiteY1" fmla="*/ 13914 h 19957"/>
              <a:gd name="connsiteX2" fmla="*/ 18435 w 21600"/>
              <a:gd name="connsiteY2" fmla="*/ 13914 h 19957"/>
              <a:gd name="connsiteX3" fmla="*/ 21600 w 21600"/>
              <a:gd name="connsiteY3" fmla="*/ 0 h 19957"/>
              <a:gd name="connsiteX4" fmla="*/ 0 w 21600"/>
              <a:gd name="connsiteY4" fmla="*/ 0 h 19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19957">
                <a:moveTo>
                  <a:pt x="0" y="0"/>
                </a:moveTo>
                <a:cubicBezTo>
                  <a:pt x="0" y="5036"/>
                  <a:pt x="704" y="10285"/>
                  <a:pt x="3162" y="13914"/>
                </a:cubicBezTo>
                <a:cubicBezTo>
                  <a:pt x="8867" y="22337"/>
                  <a:pt x="14217" y="21599"/>
                  <a:pt x="18435" y="13914"/>
                </a:cubicBezTo>
                <a:cubicBezTo>
                  <a:pt x="20544" y="10071"/>
                  <a:pt x="21600" y="5036"/>
                  <a:pt x="21600" y="0"/>
                </a:cubicBezTo>
                <a:lnTo>
                  <a:pt x="0" y="0"/>
                </a:ln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1067" dirty="0">
              <a:solidFill>
                <a:srgbClr val="74C606"/>
              </a:solidFill>
              <a:latin typeface="Crank 8 Plus Two" panose="02000506030000020004" pitchFamily="50" charset="0"/>
              <a:cs typeface="Roboto" panose="02000000000000000000" pitchFamily="2" charset="0"/>
              <a:sym typeface="Helvetica Light" charset="0"/>
            </a:endParaRPr>
          </a:p>
        </p:txBody>
      </p:sp>
      <p:sp>
        <p:nvSpPr>
          <p:cNvPr id="11" name="AutoShape 23">
            <a:extLst>
              <a:ext uri="{FF2B5EF4-FFF2-40B4-BE49-F238E27FC236}">
                <a16:creationId xmlns:a16="http://schemas.microsoft.com/office/drawing/2014/main" id="{D90E567B-FB75-FA47-BF81-E55DD628FFD9}"/>
              </a:ext>
            </a:extLst>
          </p:cNvPr>
          <p:cNvSpPr>
            <a:spLocks/>
          </p:cNvSpPr>
          <p:nvPr userDrawn="1"/>
        </p:nvSpPr>
        <p:spPr bwMode="auto">
          <a:xfrm flipH="1">
            <a:off x="9355479" y="1913997"/>
            <a:ext cx="600892" cy="600892"/>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 name="connsiteX0" fmla="*/ 15695 w 18244"/>
              <a:gd name="connsiteY0" fmla="*/ 2550 h 18244"/>
              <a:gd name="connsiteX1" fmla="*/ 16231 w 18244"/>
              <a:gd name="connsiteY1" fmla="*/ 15929 h 18244"/>
              <a:gd name="connsiteX2" fmla="*/ 2316 w 18244"/>
              <a:gd name="connsiteY2" fmla="*/ 15929 h 18244"/>
              <a:gd name="connsiteX3" fmla="*/ 2316 w 18244"/>
              <a:gd name="connsiteY3" fmla="*/ 2014 h 18244"/>
              <a:gd name="connsiteX4" fmla="*/ 15695 w 18244"/>
              <a:gd name="connsiteY4" fmla="*/ 2550 h 18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4" h="18244">
                <a:moveTo>
                  <a:pt x="15695" y="2550"/>
                </a:moveTo>
                <a:cubicBezTo>
                  <a:pt x="19537" y="6393"/>
                  <a:pt x="18461" y="13699"/>
                  <a:pt x="16231" y="15929"/>
                </a:cubicBezTo>
                <a:cubicBezTo>
                  <a:pt x="14001" y="18159"/>
                  <a:pt x="6159" y="19771"/>
                  <a:pt x="2316" y="15929"/>
                </a:cubicBezTo>
                <a:cubicBezTo>
                  <a:pt x="-1526" y="12086"/>
                  <a:pt x="86" y="4244"/>
                  <a:pt x="2316" y="2014"/>
                </a:cubicBezTo>
                <a:cubicBezTo>
                  <a:pt x="4546" y="-216"/>
                  <a:pt x="11852" y="-1292"/>
                  <a:pt x="15695" y="2550"/>
                </a:cubicBezTo>
                <a:close/>
              </a:path>
            </a:pathLst>
          </a:custGeom>
          <a:solidFill>
            <a:schemeClr val="accent5"/>
          </a:solidFill>
          <a:ln>
            <a:noFill/>
          </a:ln>
          <a:effectLst/>
        </p:spPr>
        <p:txBody>
          <a:bodyPr lIns="67733" tIns="0"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r>
              <a:rPr lang="id-ID" sz="2133" b="1" dirty="0">
                <a:solidFill>
                  <a:schemeClr val="bg1"/>
                </a:solidFill>
                <a:latin typeface="+mn-lt"/>
                <a:ea typeface="Roboto" charset="0"/>
                <a:cs typeface="Roboto" charset="0"/>
                <a:sym typeface="Helvetica Light" charset="0"/>
              </a:rPr>
              <a:t>04</a:t>
            </a:r>
          </a:p>
        </p:txBody>
      </p:sp>
      <p:cxnSp>
        <p:nvCxnSpPr>
          <p:cNvPr id="12" name="Straight Connector 11">
            <a:extLst>
              <a:ext uri="{FF2B5EF4-FFF2-40B4-BE49-F238E27FC236}">
                <a16:creationId xmlns:a16="http://schemas.microsoft.com/office/drawing/2014/main" id="{9FE3B6DA-2603-BA4D-95CF-F14AB89A4061}"/>
              </a:ext>
            </a:extLst>
          </p:cNvPr>
          <p:cNvCxnSpPr/>
          <p:nvPr userDrawn="1"/>
        </p:nvCxnSpPr>
        <p:spPr>
          <a:xfrm>
            <a:off x="4843431" y="2533597"/>
            <a:ext cx="0" cy="678071"/>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E324D-1460-A64C-8DE4-FDBE0683AE9D}"/>
              </a:ext>
            </a:extLst>
          </p:cNvPr>
          <p:cNvCxnSpPr/>
          <p:nvPr userDrawn="1"/>
        </p:nvCxnSpPr>
        <p:spPr>
          <a:xfrm>
            <a:off x="7271672" y="4510214"/>
            <a:ext cx="0" cy="678071"/>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DE5077A-F44F-3E4E-8577-B66069935108}"/>
              </a:ext>
            </a:extLst>
          </p:cNvPr>
          <p:cNvCxnSpPr/>
          <p:nvPr userDrawn="1"/>
        </p:nvCxnSpPr>
        <p:spPr>
          <a:xfrm>
            <a:off x="9646807" y="2533597"/>
            <a:ext cx="0" cy="678071"/>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90F18535-8FF3-D145-9623-3A2C177594EC}"/>
              </a:ext>
            </a:extLst>
          </p:cNvPr>
          <p:cNvSpPr>
            <a:spLocks noGrp="1"/>
          </p:cNvSpPr>
          <p:nvPr>
            <p:ph type="body" sz="quarter" idx="10" hasCustomPrompt="1"/>
          </p:nvPr>
        </p:nvSpPr>
        <p:spPr>
          <a:xfrm>
            <a:off x="1362492" y="2241755"/>
            <a:ext cx="2201733" cy="127935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23" name="Text Placeholder 21">
            <a:extLst>
              <a:ext uri="{FF2B5EF4-FFF2-40B4-BE49-F238E27FC236}">
                <a16:creationId xmlns:a16="http://schemas.microsoft.com/office/drawing/2014/main" id="{B4EC7998-5DE2-4D47-8E30-4AEE5102871D}"/>
              </a:ext>
            </a:extLst>
          </p:cNvPr>
          <p:cNvSpPr>
            <a:spLocks noGrp="1"/>
          </p:cNvSpPr>
          <p:nvPr>
            <p:ph type="body" sz="quarter" idx="11" hasCustomPrompt="1"/>
          </p:nvPr>
        </p:nvSpPr>
        <p:spPr>
          <a:xfrm>
            <a:off x="3796340" y="4123159"/>
            <a:ext cx="2201733" cy="127935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24" name="Text Placeholder 21">
            <a:extLst>
              <a:ext uri="{FF2B5EF4-FFF2-40B4-BE49-F238E27FC236}">
                <a16:creationId xmlns:a16="http://schemas.microsoft.com/office/drawing/2014/main" id="{12F1E75A-53F0-A74E-9554-9FAC507CD758}"/>
              </a:ext>
            </a:extLst>
          </p:cNvPr>
          <p:cNvSpPr>
            <a:spLocks noGrp="1"/>
          </p:cNvSpPr>
          <p:nvPr>
            <p:ph type="body" sz="quarter" idx="12" hasCustomPrompt="1"/>
          </p:nvPr>
        </p:nvSpPr>
        <p:spPr>
          <a:xfrm>
            <a:off x="8573967" y="4123159"/>
            <a:ext cx="2201733" cy="127935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25" name="Text Placeholder 21">
            <a:extLst>
              <a:ext uri="{FF2B5EF4-FFF2-40B4-BE49-F238E27FC236}">
                <a16:creationId xmlns:a16="http://schemas.microsoft.com/office/drawing/2014/main" id="{D024DC8E-630B-CB40-A3E1-B4744260148B}"/>
              </a:ext>
            </a:extLst>
          </p:cNvPr>
          <p:cNvSpPr>
            <a:spLocks noGrp="1"/>
          </p:cNvSpPr>
          <p:nvPr>
            <p:ph type="body" sz="quarter" idx="13" hasCustomPrompt="1"/>
          </p:nvPr>
        </p:nvSpPr>
        <p:spPr>
          <a:xfrm>
            <a:off x="6160634" y="2241755"/>
            <a:ext cx="2201733" cy="127935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grpSp>
        <p:nvGrpSpPr>
          <p:cNvPr id="33" name="Graphic 6">
            <a:extLst>
              <a:ext uri="{FF2B5EF4-FFF2-40B4-BE49-F238E27FC236}">
                <a16:creationId xmlns:a16="http://schemas.microsoft.com/office/drawing/2014/main" id="{F9F75CD1-961A-43B2-8089-7FE926981C6F}"/>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4" name="Freeform: Shape 33">
              <a:extLst>
                <a:ext uri="{FF2B5EF4-FFF2-40B4-BE49-F238E27FC236}">
                  <a16:creationId xmlns:a16="http://schemas.microsoft.com/office/drawing/2014/main" id="{FDFBA3B9-2CD8-4347-AD88-03EBD860650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5" name="Freeform: Shape 34">
              <a:extLst>
                <a:ext uri="{FF2B5EF4-FFF2-40B4-BE49-F238E27FC236}">
                  <a16:creationId xmlns:a16="http://schemas.microsoft.com/office/drawing/2014/main" id="{22CDD7C7-E1C6-4C2D-96FB-DF23AFA451D3}"/>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6" name="Title 10">
            <a:extLst>
              <a:ext uri="{FF2B5EF4-FFF2-40B4-BE49-F238E27FC236}">
                <a16:creationId xmlns:a16="http://schemas.microsoft.com/office/drawing/2014/main" id="{895B9E6C-6543-4998-8520-90638E039EAC}"/>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Process infographic 2</a:t>
            </a:r>
          </a:p>
        </p:txBody>
      </p:sp>
    </p:spTree>
    <p:extLst>
      <p:ext uri="{BB962C8B-B14F-4D97-AF65-F5344CB8AC3E}">
        <p14:creationId xmlns:p14="http://schemas.microsoft.com/office/powerpoint/2010/main" val="300423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ircle process">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1F3E714-5893-1E46-BC34-C4F73CFFB5D6}"/>
              </a:ext>
            </a:extLst>
          </p:cNvPr>
          <p:cNvSpPr/>
          <p:nvPr userDrawn="1"/>
        </p:nvSpPr>
        <p:spPr>
          <a:xfrm>
            <a:off x="4042931" y="1767128"/>
            <a:ext cx="3880863" cy="3880861"/>
          </a:xfrm>
          <a:prstGeom prst="ellipse">
            <a:avLst/>
          </a:prstGeom>
          <a:noFill/>
          <a:ln w="19050">
            <a:solidFill>
              <a:srgbClr val="55555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4" name="Triangle 3">
            <a:extLst>
              <a:ext uri="{FF2B5EF4-FFF2-40B4-BE49-F238E27FC236}">
                <a16:creationId xmlns:a16="http://schemas.microsoft.com/office/drawing/2014/main" id="{4CA043D3-7078-A045-8F66-F45EB89F5FF5}"/>
              </a:ext>
            </a:extLst>
          </p:cNvPr>
          <p:cNvSpPr/>
          <p:nvPr userDrawn="1"/>
        </p:nvSpPr>
        <p:spPr>
          <a:xfrm rot="5400000">
            <a:off x="5789383" y="1618700"/>
            <a:ext cx="387952" cy="296859"/>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5" name="Triangle 4">
            <a:extLst>
              <a:ext uri="{FF2B5EF4-FFF2-40B4-BE49-F238E27FC236}">
                <a16:creationId xmlns:a16="http://schemas.microsoft.com/office/drawing/2014/main" id="{5624F5A2-67C0-304C-9CC4-6C1522948D0D}"/>
              </a:ext>
            </a:extLst>
          </p:cNvPr>
          <p:cNvSpPr/>
          <p:nvPr userDrawn="1"/>
        </p:nvSpPr>
        <p:spPr>
          <a:xfrm rot="12463198">
            <a:off x="7445944" y="4548575"/>
            <a:ext cx="387952" cy="296859"/>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6" name="Triangle 5">
            <a:extLst>
              <a:ext uri="{FF2B5EF4-FFF2-40B4-BE49-F238E27FC236}">
                <a16:creationId xmlns:a16="http://schemas.microsoft.com/office/drawing/2014/main" id="{14780F66-1C26-5844-BAAF-7240EA9EBD6B}"/>
              </a:ext>
            </a:extLst>
          </p:cNvPr>
          <p:cNvSpPr/>
          <p:nvPr userDrawn="1"/>
        </p:nvSpPr>
        <p:spPr>
          <a:xfrm rot="19648640">
            <a:off x="4103161" y="4521508"/>
            <a:ext cx="387952" cy="296859"/>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7" name="Oval 6">
            <a:extLst>
              <a:ext uri="{FF2B5EF4-FFF2-40B4-BE49-F238E27FC236}">
                <a16:creationId xmlns:a16="http://schemas.microsoft.com/office/drawing/2014/main" id="{F055280B-4180-B14B-8D00-B35780735535}"/>
              </a:ext>
            </a:extLst>
          </p:cNvPr>
          <p:cNvSpPr/>
          <p:nvPr userDrawn="1"/>
        </p:nvSpPr>
        <p:spPr>
          <a:xfrm>
            <a:off x="3652975" y="2088043"/>
            <a:ext cx="1539589" cy="1542608"/>
          </a:xfrm>
          <a:custGeom>
            <a:avLst/>
            <a:gdLst>
              <a:gd name="connsiteX0" fmla="*/ 0 w 1154692"/>
              <a:gd name="connsiteY0" fmla="*/ 577346 h 1154692"/>
              <a:gd name="connsiteX1" fmla="*/ 577346 w 1154692"/>
              <a:gd name="connsiteY1" fmla="*/ 0 h 1154692"/>
              <a:gd name="connsiteX2" fmla="*/ 1154692 w 1154692"/>
              <a:gd name="connsiteY2" fmla="*/ 577346 h 1154692"/>
              <a:gd name="connsiteX3" fmla="*/ 577346 w 1154692"/>
              <a:gd name="connsiteY3" fmla="*/ 1154692 h 1154692"/>
              <a:gd name="connsiteX4" fmla="*/ 0 w 1154692"/>
              <a:gd name="connsiteY4" fmla="*/ 577346 h 1154692"/>
              <a:gd name="connsiteX0" fmla="*/ 0 w 1154692"/>
              <a:gd name="connsiteY0" fmla="*/ 577687 h 1155033"/>
              <a:gd name="connsiteX1" fmla="*/ 577346 w 1154692"/>
              <a:gd name="connsiteY1" fmla="*/ 341 h 1155033"/>
              <a:gd name="connsiteX2" fmla="*/ 1154692 w 1154692"/>
              <a:gd name="connsiteY2" fmla="*/ 577687 h 1155033"/>
              <a:gd name="connsiteX3" fmla="*/ 577346 w 1154692"/>
              <a:gd name="connsiteY3" fmla="*/ 1155033 h 1155033"/>
              <a:gd name="connsiteX4" fmla="*/ 0 w 1154692"/>
              <a:gd name="connsiteY4" fmla="*/ 577687 h 1155033"/>
              <a:gd name="connsiteX0" fmla="*/ 0 w 1154692"/>
              <a:gd name="connsiteY0" fmla="*/ 577687 h 1156956"/>
              <a:gd name="connsiteX1" fmla="*/ 577346 w 1154692"/>
              <a:gd name="connsiteY1" fmla="*/ 341 h 1156956"/>
              <a:gd name="connsiteX2" fmla="*/ 1154692 w 1154692"/>
              <a:gd name="connsiteY2" fmla="*/ 577687 h 1156956"/>
              <a:gd name="connsiteX3" fmla="*/ 577346 w 1154692"/>
              <a:gd name="connsiteY3" fmla="*/ 1155033 h 1156956"/>
              <a:gd name="connsiteX4" fmla="*/ 0 w 1154692"/>
              <a:gd name="connsiteY4" fmla="*/ 577687 h 11569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692" h="1156956">
                <a:moveTo>
                  <a:pt x="0" y="577687"/>
                </a:moveTo>
                <a:cubicBezTo>
                  <a:pt x="0" y="258828"/>
                  <a:pt x="258487" y="-10948"/>
                  <a:pt x="577346" y="341"/>
                </a:cubicBezTo>
                <a:cubicBezTo>
                  <a:pt x="896205" y="11630"/>
                  <a:pt x="1154692" y="258828"/>
                  <a:pt x="1154692" y="577687"/>
                </a:cubicBezTo>
                <a:cubicBezTo>
                  <a:pt x="1154692" y="896546"/>
                  <a:pt x="907494" y="1126811"/>
                  <a:pt x="577346" y="1155033"/>
                </a:cubicBezTo>
                <a:cubicBezTo>
                  <a:pt x="247198" y="1183255"/>
                  <a:pt x="0" y="896546"/>
                  <a:pt x="0" y="577687"/>
                </a:cubicBezTo>
                <a:close/>
              </a:path>
            </a:pathLst>
          </a:custGeom>
          <a:solidFill>
            <a:srgbClr val="ED8B02"/>
          </a:solidFill>
          <a:ln w="254000">
            <a:noFill/>
            <a:roun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latin typeface="+mn-lt"/>
              <a:ea typeface="Roboto Medium" charset="0"/>
              <a:cs typeface="Roboto Medium" charset="0"/>
            </a:endParaRPr>
          </a:p>
        </p:txBody>
      </p:sp>
      <p:sp>
        <p:nvSpPr>
          <p:cNvPr id="8" name="Oval 7">
            <a:extLst>
              <a:ext uri="{FF2B5EF4-FFF2-40B4-BE49-F238E27FC236}">
                <a16:creationId xmlns:a16="http://schemas.microsoft.com/office/drawing/2014/main" id="{2BF8C4E3-0358-8446-AEF8-1190761E6383}"/>
              </a:ext>
            </a:extLst>
          </p:cNvPr>
          <p:cNvSpPr/>
          <p:nvPr userDrawn="1"/>
        </p:nvSpPr>
        <p:spPr>
          <a:xfrm>
            <a:off x="6774160" y="2082525"/>
            <a:ext cx="1539592" cy="1545564"/>
          </a:xfrm>
          <a:custGeom>
            <a:avLst/>
            <a:gdLst>
              <a:gd name="connsiteX0" fmla="*/ 0 w 1154693"/>
              <a:gd name="connsiteY0" fmla="*/ 577347 h 1154693"/>
              <a:gd name="connsiteX1" fmla="*/ 577347 w 1154693"/>
              <a:gd name="connsiteY1" fmla="*/ 0 h 1154693"/>
              <a:gd name="connsiteX2" fmla="*/ 1154694 w 1154693"/>
              <a:gd name="connsiteY2" fmla="*/ 577347 h 1154693"/>
              <a:gd name="connsiteX3" fmla="*/ 577347 w 1154693"/>
              <a:gd name="connsiteY3" fmla="*/ 1154694 h 1154693"/>
              <a:gd name="connsiteX4" fmla="*/ 0 w 1154693"/>
              <a:gd name="connsiteY4" fmla="*/ 577347 h 1154693"/>
              <a:gd name="connsiteX0" fmla="*/ 0 w 1154694"/>
              <a:gd name="connsiteY0" fmla="*/ 581826 h 1159173"/>
              <a:gd name="connsiteX1" fmla="*/ 577347 w 1154694"/>
              <a:gd name="connsiteY1" fmla="*/ 4479 h 1159173"/>
              <a:gd name="connsiteX2" fmla="*/ 1154694 w 1154694"/>
              <a:gd name="connsiteY2" fmla="*/ 581826 h 1159173"/>
              <a:gd name="connsiteX3" fmla="*/ 577347 w 1154694"/>
              <a:gd name="connsiteY3" fmla="*/ 1159173 h 1159173"/>
              <a:gd name="connsiteX4" fmla="*/ 0 w 1154694"/>
              <a:gd name="connsiteY4" fmla="*/ 581826 h 115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694" h="1159173">
                <a:moveTo>
                  <a:pt x="0" y="581826"/>
                </a:moveTo>
                <a:cubicBezTo>
                  <a:pt x="0" y="262966"/>
                  <a:pt x="258487" y="-40676"/>
                  <a:pt x="577347" y="4479"/>
                </a:cubicBezTo>
                <a:cubicBezTo>
                  <a:pt x="896207" y="49634"/>
                  <a:pt x="1154694" y="262966"/>
                  <a:pt x="1154694" y="581826"/>
                </a:cubicBezTo>
                <a:cubicBezTo>
                  <a:pt x="1154694" y="900686"/>
                  <a:pt x="896207" y="1159173"/>
                  <a:pt x="577347" y="1159173"/>
                </a:cubicBezTo>
                <a:cubicBezTo>
                  <a:pt x="258487" y="1159173"/>
                  <a:pt x="0" y="900686"/>
                  <a:pt x="0" y="581826"/>
                </a:cubicBezTo>
                <a:close/>
              </a:path>
            </a:pathLst>
          </a:custGeom>
          <a:solidFill>
            <a:schemeClr val="accent3"/>
          </a:solidFill>
          <a:ln w="254000">
            <a:noFill/>
            <a:roun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solidFill>
                <a:schemeClr val="bg1"/>
              </a:solidFill>
              <a:latin typeface="+mn-lt"/>
              <a:ea typeface="Roboto Medium" charset="0"/>
              <a:cs typeface="Roboto Medium" charset="0"/>
            </a:endParaRPr>
          </a:p>
        </p:txBody>
      </p:sp>
      <p:sp>
        <p:nvSpPr>
          <p:cNvPr id="9" name="Oval 8">
            <a:extLst>
              <a:ext uri="{FF2B5EF4-FFF2-40B4-BE49-F238E27FC236}">
                <a16:creationId xmlns:a16="http://schemas.microsoft.com/office/drawing/2014/main" id="{93B198C6-4754-9B44-BAF2-7FB7B0C59A44}"/>
              </a:ext>
            </a:extLst>
          </p:cNvPr>
          <p:cNvSpPr/>
          <p:nvPr userDrawn="1"/>
        </p:nvSpPr>
        <p:spPr>
          <a:xfrm>
            <a:off x="5200035" y="4609689"/>
            <a:ext cx="1539589" cy="1539824"/>
          </a:xfrm>
          <a:custGeom>
            <a:avLst/>
            <a:gdLst>
              <a:gd name="connsiteX0" fmla="*/ 0 w 1154692"/>
              <a:gd name="connsiteY0" fmla="*/ 577346 h 1154692"/>
              <a:gd name="connsiteX1" fmla="*/ 577346 w 1154692"/>
              <a:gd name="connsiteY1" fmla="*/ 0 h 1154692"/>
              <a:gd name="connsiteX2" fmla="*/ 1154692 w 1154692"/>
              <a:gd name="connsiteY2" fmla="*/ 577346 h 1154692"/>
              <a:gd name="connsiteX3" fmla="*/ 577346 w 1154692"/>
              <a:gd name="connsiteY3" fmla="*/ 1154692 h 1154692"/>
              <a:gd name="connsiteX4" fmla="*/ 0 w 1154692"/>
              <a:gd name="connsiteY4" fmla="*/ 577346 h 1154692"/>
              <a:gd name="connsiteX0" fmla="*/ 0 w 1154692"/>
              <a:gd name="connsiteY0" fmla="*/ 577434 h 1154780"/>
              <a:gd name="connsiteX1" fmla="*/ 577346 w 1154692"/>
              <a:gd name="connsiteY1" fmla="*/ 88 h 1154780"/>
              <a:gd name="connsiteX2" fmla="*/ 1154692 w 1154692"/>
              <a:gd name="connsiteY2" fmla="*/ 577434 h 1154780"/>
              <a:gd name="connsiteX3" fmla="*/ 577346 w 1154692"/>
              <a:gd name="connsiteY3" fmla="*/ 1154780 h 1154780"/>
              <a:gd name="connsiteX4" fmla="*/ 0 w 1154692"/>
              <a:gd name="connsiteY4" fmla="*/ 577434 h 1154780"/>
              <a:gd name="connsiteX0" fmla="*/ 0 w 1154692"/>
              <a:gd name="connsiteY0" fmla="*/ 577434 h 1154868"/>
              <a:gd name="connsiteX1" fmla="*/ 577346 w 1154692"/>
              <a:gd name="connsiteY1" fmla="*/ 88 h 1154868"/>
              <a:gd name="connsiteX2" fmla="*/ 1154692 w 1154692"/>
              <a:gd name="connsiteY2" fmla="*/ 577434 h 1154868"/>
              <a:gd name="connsiteX3" fmla="*/ 577346 w 1154692"/>
              <a:gd name="connsiteY3" fmla="*/ 1154780 h 1154868"/>
              <a:gd name="connsiteX4" fmla="*/ 0 w 1154692"/>
              <a:gd name="connsiteY4" fmla="*/ 577434 h 1154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4692" h="1154868">
                <a:moveTo>
                  <a:pt x="0" y="577434"/>
                </a:moveTo>
                <a:cubicBezTo>
                  <a:pt x="0" y="258575"/>
                  <a:pt x="190753" y="5732"/>
                  <a:pt x="577346" y="88"/>
                </a:cubicBezTo>
                <a:cubicBezTo>
                  <a:pt x="963939" y="-5556"/>
                  <a:pt x="1154692" y="258575"/>
                  <a:pt x="1154692" y="577434"/>
                </a:cubicBezTo>
                <a:cubicBezTo>
                  <a:pt x="1154692" y="896293"/>
                  <a:pt x="952650" y="1149135"/>
                  <a:pt x="577346" y="1154780"/>
                </a:cubicBezTo>
                <a:cubicBezTo>
                  <a:pt x="202042" y="1160425"/>
                  <a:pt x="0" y="896293"/>
                  <a:pt x="0" y="577434"/>
                </a:cubicBezTo>
                <a:close/>
              </a:path>
            </a:pathLst>
          </a:custGeom>
          <a:solidFill>
            <a:srgbClr val="ED8B02"/>
          </a:solidFill>
          <a:ln w="2540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latin typeface="+mn-lt"/>
              <a:ea typeface="Roboto Medium" charset="0"/>
              <a:cs typeface="Roboto Medium" charset="0"/>
            </a:endParaRPr>
          </a:p>
        </p:txBody>
      </p:sp>
      <p:sp>
        <p:nvSpPr>
          <p:cNvPr id="13" name="Text Placeholder 21">
            <a:extLst>
              <a:ext uri="{FF2B5EF4-FFF2-40B4-BE49-F238E27FC236}">
                <a16:creationId xmlns:a16="http://schemas.microsoft.com/office/drawing/2014/main" id="{5D001595-3498-4B47-AB14-8C3EC490902A}"/>
              </a:ext>
            </a:extLst>
          </p:cNvPr>
          <p:cNvSpPr>
            <a:spLocks noGrp="1"/>
          </p:cNvSpPr>
          <p:nvPr>
            <p:ph type="body" sz="quarter" idx="10" hasCustomPrompt="1"/>
          </p:nvPr>
        </p:nvSpPr>
        <p:spPr>
          <a:xfrm>
            <a:off x="3652977" y="2435474"/>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sp>
        <p:nvSpPr>
          <p:cNvPr id="14" name="Text Placeholder 21">
            <a:extLst>
              <a:ext uri="{FF2B5EF4-FFF2-40B4-BE49-F238E27FC236}">
                <a16:creationId xmlns:a16="http://schemas.microsoft.com/office/drawing/2014/main" id="{2ED5592B-BCCD-4B46-B0FE-779CBCAB4216}"/>
              </a:ext>
            </a:extLst>
          </p:cNvPr>
          <p:cNvSpPr>
            <a:spLocks noGrp="1"/>
          </p:cNvSpPr>
          <p:nvPr>
            <p:ph type="body" sz="quarter" idx="11" hasCustomPrompt="1"/>
          </p:nvPr>
        </p:nvSpPr>
        <p:spPr>
          <a:xfrm>
            <a:off x="6774161" y="2435474"/>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sp>
        <p:nvSpPr>
          <p:cNvPr id="15" name="Text Placeholder 21">
            <a:extLst>
              <a:ext uri="{FF2B5EF4-FFF2-40B4-BE49-F238E27FC236}">
                <a16:creationId xmlns:a16="http://schemas.microsoft.com/office/drawing/2014/main" id="{C9B89407-599C-4F41-8106-DEEC1978D69E}"/>
              </a:ext>
            </a:extLst>
          </p:cNvPr>
          <p:cNvSpPr>
            <a:spLocks noGrp="1"/>
          </p:cNvSpPr>
          <p:nvPr>
            <p:ph type="body" sz="quarter" idx="12" hasCustomPrompt="1"/>
          </p:nvPr>
        </p:nvSpPr>
        <p:spPr>
          <a:xfrm>
            <a:off x="5200067" y="4944318"/>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grpSp>
        <p:nvGrpSpPr>
          <p:cNvPr id="24" name="Graphic 6">
            <a:extLst>
              <a:ext uri="{FF2B5EF4-FFF2-40B4-BE49-F238E27FC236}">
                <a16:creationId xmlns:a16="http://schemas.microsoft.com/office/drawing/2014/main" id="{87C2E268-6282-4B1D-AA10-72150F8AA04D}"/>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5" name="Freeform: Shape 24">
              <a:extLst>
                <a:ext uri="{FF2B5EF4-FFF2-40B4-BE49-F238E27FC236}">
                  <a16:creationId xmlns:a16="http://schemas.microsoft.com/office/drawing/2014/main" id="{AB3AC293-904D-4DD1-8EF0-A23D808F9A0D}"/>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6" name="Freeform: Shape 25">
              <a:extLst>
                <a:ext uri="{FF2B5EF4-FFF2-40B4-BE49-F238E27FC236}">
                  <a16:creationId xmlns:a16="http://schemas.microsoft.com/office/drawing/2014/main" id="{4997824B-6644-4C6F-8D82-4C5A55FC28D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6" name="Title 10">
            <a:extLst>
              <a:ext uri="{FF2B5EF4-FFF2-40B4-BE49-F238E27FC236}">
                <a16:creationId xmlns:a16="http://schemas.microsoft.com/office/drawing/2014/main" id="{B60CC2EE-8D3B-466C-A47D-CEC8A8BCFB79}"/>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Circle process</a:t>
            </a:r>
          </a:p>
        </p:txBody>
      </p:sp>
    </p:spTree>
    <p:extLst>
      <p:ext uri="{BB962C8B-B14F-4D97-AF65-F5344CB8AC3E}">
        <p14:creationId xmlns:p14="http://schemas.microsoft.com/office/powerpoint/2010/main" val="223725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ircle process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989623-517E-934C-A48E-B567080829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9254467">
            <a:off x="3943126" y="1761534"/>
            <a:ext cx="3755901" cy="5077993"/>
          </a:xfrm>
          <a:prstGeom prst="rect">
            <a:avLst/>
          </a:prstGeom>
        </p:spPr>
      </p:pic>
      <p:sp>
        <p:nvSpPr>
          <p:cNvPr id="3" name="Oval 2">
            <a:extLst>
              <a:ext uri="{FF2B5EF4-FFF2-40B4-BE49-F238E27FC236}">
                <a16:creationId xmlns:a16="http://schemas.microsoft.com/office/drawing/2014/main" id="{92651E70-B142-9E45-9582-C20A79931328}"/>
              </a:ext>
            </a:extLst>
          </p:cNvPr>
          <p:cNvSpPr/>
          <p:nvPr userDrawn="1"/>
        </p:nvSpPr>
        <p:spPr>
          <a:xfrm>
            <a:off x="4635803" y="1956108"/>
            <a:ext cx="1566712" cy="1567977"/>
          </a:xfrm>
          <a:custGeom>
            <a:avLst/>
            <a:gdLst>
              <a:gd name="connsiteX0" fmla="*/ 0 w 1175034"/>
              <a:gd name="connsiteY0" fmla="*/ 587517 h 1175034"/>
              <a:gd name="connsiteX1" fmla="*/ 587517 w 1175034"/>
              <a:gd name="connsiteY1" fmla="*/ 0 h 1175034"/>
              <a:gd name="connsiteX2" fmla="*/ 1175034 w 1175034"/>
              <a:gd name="connsiteY2" fmla="*/ 587517 h 1175034"/>
              <a:gd name="connsiteX3" fmla="*/ 587517 w 1175034"/>
              <a:gd name="connsiteY3" fmla="*/ 1175034 h 1175034"/>
              <a:gd name="connsiteX4" fmla="*/ 0 w 1175034"/>
              <a:gd name="connsiteY4" fmla="*/ 587517 h 1175034"/>
              <a:gd name="connsiteX0" fmla="*/ 0 w 1175034"/>
              <a:gd name="connsiteY0" fmla="*/ 588466 h 1175983"/>
              <a:gd name="connsiteX1" fmla="*/ 587517 w 1175034"/>
              <a:gd name="connsiteY1" fmla="*/ 949 h 1175983"/>
              <a:gd name="connsiteX2" fmla="*/ 1175034 w 1175034"/>
              <a:gd name="connsiteY2" fmla="*/ 588466 h 1175983"/>
              <a:gd name="connsiteX3" fmla="*/ 587517 w 1175034"/>
              <a:gd name="connsiteY3" fmla="*/ 1175983 h 1175983"/>
              <a:gd name="connsiteX4" fmla="*/ 0 w 1175034"/>
              <a:gd name="connsiteY4" fmla="*/ 588466 h 1175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34" h="1175983">
                <a:moveTo>
                  <a:pt x="0" y="588466"/>
                </a:moveTo>
                <a:cubicBezTo>
                  <a:pt x="0" y="263989"/>
                  <a:pt x="263040" y="20404"/>
                  <a:pt x="587517" y="949"/>
                </a:cubicBezTo>
                <a:cubicBezTo>
                  <a:pt x="911994" y="-18506"/>
                  <a:pt x="1175034" y="263989"/>
                  <a:pt x="1175034" y="588466"/>
                </a:cubicBezTo>
                <a:cubicBezTo>
                  <a:pt x="1175034" y="912943"/>
                  <a:pt x="911994" y="1175983"/>
                  <a:pt x="587517" y="1175983"/>
                </a:cubicBezTo>
                <a:cubicBezTo>
                  <a:pt x="263040" y="1175983"/>
                  <a:pt x="0" y="912943"/>
                  <a:pt x="0" y="588466"/>
                </a:cubicBezTo>
                <a:close/>
              </a:path>
            </a:pathLst>
          </a:custGeom>
          <a:solidFill>
            <a:srgbClr val="ED8B02"/>
          </a:solidFill>
          <a:ln w="254000">
            <a:noFill/>
            <a:roun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latin typeface="+mn-lt"/>
              <a:ea typeface="Roboto Medium" charset="0"/>
              <a:cs typeface="Roboto Medium" charset="0"/>
            </a:endParaRPr>
          </a:p>
        </p:txBody>
      </p:sp>
      <p:sp>
        <p:nvSpPr>
          <p:cNvPr id="4" name="Oval 3">
            <a:extLst>
              <a:ext uri="{FF2B5EF4-FFF2-40B4-BE49-F238E27FC236}">
                <a16:creationId xmlns:a16="http://schemas.microsoft.com/office/drawing/2014/main" id="{5AB1585D-1CE7-CF45-A8CE-4734FF85920E}"/>
              </a:ext>
            </a:extLst>
          </p:cNvPr>
          <p:cNvSpPr/>
          <p:nvPr userDrawn="1"/>
        </p:nvSpPr>
        <p:spPr>
          <a:xfrm>
            <a:off x="4471653" y="4084253"/>
            <a:ext cx="1571236" cy="1566712"/>
          </a:xfrm>
          <a:custGeom>
            <a:avLst/>
            <a:gdLst>
              <a:gd name="connsiteX0" fmla="*/ 0 w 1175034"/>
              <a:gd name="connsiteY0" fmla="*/ 587517 h 1175034"/>
              <a:gd name="connsiteX1" fmla="*/ 587517 w 1175034"/>
              <a:gd name="connsiteY1" fmla="*/ 0 h 1175034"/>
              <a:gd name="connsiteX2" fmla="*/ 1175034 w 1175034"/>
              <a:gd name="connsiteY2" fmla="*/ 587517 h 1175034"/>
              <a:gd name="connsiteX3" fmla="*/ 587517 w 1175034"/>
              <a:gd name="connsiteY3" fmla="*/ 1175034 h 1175034"/>
              <a:gd name="connsiteX4" fmla="*/ 0 w 1175034"/>
              <a:gd name="connsiteY4" fmla="*/ 587517 h 1175034"/>
              <a:gd name="connsiteX0" fmla="*/ 0 w 1178427"/>
              <a:gd name="connsiteY0" fmla="*/ 587517 h 1175034"/>
              <a:gd name="connsiteX1" fmla="*/ 587517 w 1178427"/>
              <a:gd name="connsiteY1" fmla="*/ 0 h 1175034"/>
              <a:gd name="connsiteX2" fmla="*/ 1175034 w 1178427"/>
              <a:gd name="connsiteY2" fmla="*/ 587517 h 1175034"/>
              <a:gd name="connsiteX3" fmla="*/ 587517 w 1178427"/>
              <a:gd name="connsiteY3" fmla="*/ 1175034 h 1175034"/>
              <a:gd name="connsiteX4" fmla="*/ 0 w 1178427"/>
              <a:gd name="connsiteY4" fmla="*/ 587517 h 117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427" h="1175034">
                <a:moveTo>
                  <a:pt x="0" y="587517"/>
                </a:moveTo>
                <a:cubicBezTo>
                  <a:pt x="0" y="263040"/>
                  <a:pt x="263040" y="0"/>
                  <a:pt x="587517" y="0"/>
                </a:cubicBezTo>
                <a:cubicBezTo>
                  <a:pt x="911994" y="0"/>
                  <a:pt x="1213945" y="269526"/>
                  <a:pt x="1175034" y="587517"/>
                </a:cubicBezTo>
                <a:cubicBezTo>
                  <a:pt x="1175034" y="911994"/>
                  <a:pt x="911994" y="1175034"/>
                  <a:pt x="587517" y="1175034"/>
                </a:cubicBezTo>
                <a:cubicBezTo>
                  <a:pt x="263040" y="1175034"/>
                  <a:pt x="0" y="911994"/>
                  <a:pt x="0" y="587517"/>
                </a:cubicBezTo>
                <a:close/>
              </a:path>
            </a:pathLst>
          </a:custGeom>
          <a:solidFill>
            <a:srgbClr val="ED8B02"/>
          </a:solidFill>
          <a:ln w="254000">
            <a:noFill/>
            <a:roun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latin typeface="+mn-lt"/>
              <a:ea typeface="Roboto Medium" charset="0"/>
              <a:cs typeface="Roboto Medium" charset="0"/>
            </a:endParaRPr>
          </a:p>
        </p:txBody>
      </p:sp>
      <p:sp>
        <p:nvSpPr>
          <p:cNvPr id="5" name="Oval 4">
            <a:extLst>
              <a:ext uri="{FF2B5EF4-FFF2-40B4-BE49-F238E27FC236}">
                <a16:creationId xmlns:a16="http://schemas.microsoft.com/office/drawing/2014/main" id="{EB214213-D9AF-C746-AB38-46DC919206C5}"/>
              </a:ext>
            </a:extLst>
          </p:cNvPr>
          <p:cNvSpPr/>
          <p:nvPr userDrawn="1"/>
        </p:nvSpPr>
        <p:spPr>
          <a:xfrm>
            <a:off x="6588128" y="4147116"/>
            <a:ext cx="1567297" cy="1566712"/>
          </a:xfrm>
          <a:custGeom>
            <a:avLst/>
            <a:gdLst>
              <a:gd name="connsiteX0" fmla="*/ 0 w 1175034"/>
              <a:gd name="connsiteY0" fmla="*/ 587517 h 1175034"/>
              <a:gd name="connsiteX1" fmla="*/ 587517 w 1175034"/>
              <a:gd name="connsiteY1" fmla="*/ 0 h 1175034"/>
              <a:gd name="connsiteX2" fmla="*/ 1175034 w 1175034"/>
              <a:gd name="connsiteY2" fmla="*/ 587517 h 1175034"/>
              <a:gd name="connsiteX3" fmla="*/ 587517 w 1175034"/>
              <a:gd name="connsiteY3" fmla="*/ 1175034 h 1175034"/>
              <a:gd name="connsiteX4" fmla="*/ 0 w 1175034"/>
              <a:gd name="connsiteY4" fmla="*/ 587517 h 1175034"/>
              <a:gd name="connsiteX0" fmla="*/ 439 w 1175473"/>
              <a:gd name="connsiteY0" fmla="*/ 587517 h 1175034"/>
              <a:gd name="connsiteX1" fmla="*/ 587956 w 1175473"/>
              <a:gd name="connsiteY1" fmla="*/ 0 h 1175034"/>
              <a:gd name="connsiteX2" fmla="*/ 1175473 w 1175473"/>
              <a:gd name="connsiteY2" fmla="*/ 587517 h 1175034"/>
              <a:gd name="connsiteX3" fmla="*/ 587956 w 1175473"/>
              <a:gd name="connsiteY3" fmla="*/ 1175034 h 1175034"/>
              <a:gd name="connsiteX4" fmla="*/ 439 w 1175473"/>
              <a:gd name="connsiteY4" fmla="*/ 587517 h 1175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473" h="1175034">
                <a:moveTo>
                  <a:pt x="439" y="587517"/>
                </a:moveTo>
                <a:cubicBezTo>
                  <a:pt x="-12531" y="217645"/>
                  <a:pt x="263479" y="0"/>
                  <a:pt x="587956" y="0"/>
                </a:cubicBezTo>
                <a:cubicBezTo>
                  <a:pt x="912433" y="0"/>
                  <a:pt x="1175473" y="263040"/>
                  <a:pt x="1175473" y="587517"/>
                </a:cubicBezTo>
                <a:cubicBezTo>
                  <a:pt x="1175473" y="911994"/>
                  <a:pt x="912433" y="1175034"/>
                  <a:pt x="587956" y="1175034"/>
                </a:cubicBezTo>
                <a:cubicBezTo>
                  <a:pt x="263479" y="1175034"/>
                  <a:pt x="13409" y="957389"/>
                  <a:pt x="439" y="587517"/>
                </a:cubicBezTo>
                <a:close/>
              </a:path>
            </a:pathLst>
          </a:custGeom>
          <a:solidFill>
            <a:schemeClr val="accent5"/>
          </a:solidFill>
          <a:ln w="254000">
            <a:noFill/>
            <a:roun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sz="2133" dirty="0">
              <a:solidFill>
                <a:schemeClr val="bg1"/>
              </a:solidFill>
              <a:latin typeface="+mn-lt"/>
              <a:ea typeface="Roboto Medium" charset="0"/>
              <a:cs typeface="Roboto Medium" charset="0"/>
            </a:endParaRPr>
          </a:p>
        </p:txBody>
      </p:sp>
      <p:sp>
        <p:nvSpPr>
          <p:cNvPr id="6" name="Triangle 5">
            <a:extLst>
              <a:ext uri="{FF2B5EF4-FFF2-40B4-BE49-F238E27FC236}">
                <a16:creationId xmlns:a16="http://schemas.microsoft.com/office/drawing/2014/main" id="{67ADAC10-E983-8A48-A929-CD810CD43348}"/>
              </a:ext>
            </a:extLst>
          </p:cNvPr>
          <p:cNvSpPr/>
          <p:nvPr userDrawn="1"/>
        </p:nvSpPr>
        <p:spPr>
          <a:xfrm rot="13989169">
            <a:off x="5891281" y="3394106"/>
            <a:ext cx="413809" cy="316645"/>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7" name="Triangle 6">
            <a:extLst>
              <a:ext uri="{FF2B5EF4-FFF2-40B4-BE49-F238E27FC236}">
                <a16:creationId xmlns:a16="http://schemas.microsoft.com/office/drawing/2014/main" id="{849C4775-AD1D-FF46-AC1A-7FEFDE40F535}"/>
              </a:ext>
            </a:extLst>
          </p:cNvPr>
          <p:cNvSpPr/>
          <p:nvPr userDrawn="1"/>
        </p:nvSpPr>
        <p:spPr>
          <a:xfrm rot="2958169">
            <a:off x="5777065" y="5464086"/>
            <a:ext cx="413809" cy="316645"/>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12" name="Text Placeholder 21">
            <a:extLst>
              <a:ext uri="{FF2B5EF4-FFF2-40B4-BE49-F238E27FC236}">
                <a16:creationId xmlns:a16="http://schemas.microsoft.com/office/drawing/2014/main" id="{F0D55DC9-0656-9D47-92B9-55851DC5A700}"/>
              </a:ext>
            </a:extLst>
          </p:cNvPr>
          <p:cNvSpPr>
            <a:spLocks noGrp="1"/>
          </p:cNvSpPr>
          <p:nvPr>
            <p:ph type="body" sz="quarter" idx="10" hasCustomPrompt="1"/>
          </p:nvPr>
        </p:nvSpPr>
        <p:spPr>
          <a:xfrm>
            <a:off x="4635803" y="2318822"/>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sp>
        <p:nvSpPr>
          <p:cNvPr id="13" name="Text Placeholder 21">
            <a:extLst>
              <a:ext uri="{FF2B5EF4-FFF2-40B4-BE49-F238E27FC236}">
                <a16:creationId xmlns:a16="http://schemas.microsoft.com/office/drawing/2014/main" id="{3FFA97BE-0F04-7542-8576-388C058CDAAA}"/>
              </a:ext>
            </a:extLst>
          </p:cNvPr>
          <p:cNvSpPr>
            <a:spLocks noGrp="1"/>
          </p:cNvSpPr>
          <p:nvPr>
            <p:ph type="body" sz="quarter" idx="11" hasCustomPrompt="1"/>
          </p:nvPr>
        </p:nvSpPr>
        <p:spPr>
          <a:xfrm>
            <a:off x="4498777" y="4445703"/>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sp>
        <p:nvSpPr>
          <p:cNvPr id="14" name="Text Placeholder 21">
            <a:extLst>
              <a:ext uri="{FF2B5EF4-FFF2-40B4-BE49-F238E27FC236}">
                <a16:creationId xmlns:a16="http://schemas.microsoft.com/office/drawing/2014/main" id="{5A21251A-3EE6-6F4D-ABE4-0059F1E7A211}"/>
              </a:ext>
            </a:extLst>
          </p:cNvPr>
          <p:cNvSpPr>
            <a:spLocks noGrp="1"/>
          </p:cNvSpPr>
          <p:nvPr>
            <p:ph type="body" sz="quarter" idx="12" hasCustomPrompt="1"/>
          </p:nvPr>
        </p:nvSpPr>
        <p:spPr>
          <a:xfrm>
            <a:off x="6597062" y="4507358"/>
            <a:ext cx="1539588" cy="861484"/>
          </a:xfrm>
          <a:prstGeom prst="rect">
            <a:avLst/>
          </a:prstGeom>
        </p:spPr>
        <p:txBody>
          <a:bodyPr anchor="ctr"/>
          <a:lstStyle>
            <a:lvl1pPr marL="0" indent="0" algn="ctr">
              <a:buNone/>
              <a:defRPr sz="1867">
                <a:solidFill>
                  <a:schemeClr val="bg1"/>
                </a:solidFill>
                <a:latin typeface="+mn-lt"/>
              </a:defRPr>
            </a:lvl1pPr>
          </a:lstStyle>
          <a:p>
            <a:pPr lvl="0"/>
            <a:r>
              <a:rPr lang="en-US" dirty="0"/>
              <a:t>Click to add text</a:t>
            </a:r>
            <a:endParaRPr dirty="0"/>
          </a:p>
        </p:txBody>
      </p:sp>
      <p:grpSp>
        <p:nvGrpSpPr>
          <p:cNvPr id="23" name="Graphic 6">
            <a:extLst>
              <a:ext uri="{FF2B5EF4-FFF2-40B4-BE49-F238E27FC236}">
                <a16:creationId xmlns:a16="http://schemas.microsoft.com/office/drawing/2014/main" id="{CD197711-5386-4ED0-8380-E579B2FDFF86}"/>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4" name="Freeform: Shape 23">
              <a:extLst>
                <a:ext uri="{FF2B5EF4-FFF2-40B4-BE49-F238E27FC236}">
                  <a16:creationId xmlns:a16="http://schemas.microsoft.com/office/drawing/2014/main" id="{F3272831-7521-492E-B6AD-80689245C6D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5" name="Freeform: Shape 24">
              <a:extLst>
                <a:ext uri="{FF2B5EF4-FFF2-40B4-BE49-F238E27FC236}">
                  <a16:creationId xmlns:a16="http://schemas.microsoft.com/office/drawing/2014/main" id="{9BDDE85F-462C-49F3-8E8D-B9655F5747DC}"/>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5" name="Title 10">
            <a:extLst>
              <a:ext uri="{FF2B5EF4-FFF2-40B4-BE49-F238E27FC236}">
                <a16:creationId xmlns:a16="http://schemas.microsoft.com/office/drawing/2014/main" id="{C7808DE6-2FAB-44A0-AD11-6FD7FED09165}"/>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Circle process 2</a:t>
            </a:r>
          </a:p>
        </p:txBody>
      </p:sp>
    </p:spTree>
    <p:extLst>
      <p:ext uri="{BB962C8B-B14F-4D97-AF65-F5344CB8AC3E}">
        <p14:creationId xmlns:p14="http://schemas.microsoft.com/office/powerpoint/2010/main" val="394613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jdlijn">
    <p:spTree>
      <p:nvGrpSpPr>
        <p:cNvPr id="1" name=""/>
        <p:cNvGrpSpPr/>
        <p:nvPr/>
      </p:nvGrpSpPr>
      <p:grpSpPr>
        <a:xfrm>
          <a:off x="0" y="0"/>
          <a:ext cx="0" cy="0"/>
          <a:chOff x="0" y="0"/>
          <a:chExt cx="0" cy="0"/>
        </a:xfrm>
      </p:grpSpPr>
      <p:sp>
        <p:nvSpPr>
          <p:cNvPr id="3" name="AutoShape 1">
            <a:extLst>
              <a:ext uri="{FF2B5EF4-FFF2-40B4-BE49-F238E27FC236}">
                <a16:creationId xmlns:a16="http://schemas.microsoft.com/office/drawing/2014/main" id="{1FAB4900-DC67-2043-9B57-65E5F9B7E833}"/>
              </a:ext>
            </a:extLst>
          </p:cNvPr>
          <p:cNvSpPr>
            <a:spLocks/>
          </p:cNvSpPr>
          <p:nvPr userDrawn="1"/>
        </p:nvSpPr>
        <p:spPr bwMode="auto">
          <a:xfrm>
            <a:off x="675149" y="2952099"/>
            <a:ext cx="1507489" cy="1507488"/>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chemeClr val="accent1"/>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nSpc>
                <a:spcPct val="100000"/>
              </a:lnSpc>
              <a:buSzTx/>
              <a:buFontTx/>
              <a:buNone/>
            </a:pPr>
            <a:endParaRPr lang="id-ID" sz="4267" dirty="0">
              <a:solidFill>
                <a:srgbClr val="B7EDE6"/>
              </a:solidFill>
              <a:latin typeface="+mn-lt"/>
              <a:cs typeface="Roboto" panose="02000000000000000000" pitchFamily="2" charset="0"/>
              <a:sym typeface="Helvetica Light" charset="0"/>
            </a:endParaRPr>
          </a:p>
        </p:txBody>
      </p:sp>
      <p:sp>
        <p:nvSpPr>
          <p:cNvPr id="4" name="AutoShape 2">
            <a:extLst>
              <a:ext uri="{FF2B5EF4-FFF2-40B4-BE49-F238E27FC236}">
                <a16:creationId xmlns:a16="http://schemas.microsoft.com/office/drawing/2014/main" id="{1E49EDEF-29D4-874A-9AEB-F3AD91237C73}"/>
              </a:ext>
            </a:extLst>
          </p:cNvPr>
          <p:cNvSpPr>
            <a:spLocks/>
          </p:cNvSpPr>
          <p:nvPr userDrawn="1"/>
        </p:nvSpPr>
        <p:spPr bwMode="auto">
          <a:xfrm>
            <a:off x="1429268" y="2952099"/>
            <a:ext cx="1507488"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accent1"/>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chemeClr val="bg1"/>
              </a:solidFill>
              <a:latin typeface="+mn-lt"/>
              <a:ea typeface="Roboto" charset="0"/>
              <a:cs typeface="Roboto" charset="0"/>
              <a:sym typeface="Helvetica Light" charset="0"/>
            </a:endParaRPr>
          </a:p>
        </p:txBody>
      </p:sp>
      <p:sp>
        <p:nvSpPr>
          <p:cNvPr id="5" name="AutoShape 3">
            <a:extLst>
              <a:ext uri="{FF2B5EF4-FFF2-40B4-BE49-F238E27FC236}">
                <a16:creationId xmlns:a16="http://schemas.microsoft.com/office/drawing/2014/main" id="{2A0019C7-EAB7-D44E-8F02-C8ED63CF2C5C}"/>
              </a:ext>
            </a:extLst>
          </p:cNvPr>
          <p:cNvSpPr>
            <a:spLocks/>
          </p:cNvSpPr>
          <p:nvPr userDrawn="1"/>
        </p:nvSpPr>
        <p:spPr bwMode="auto">
          <a:xfrm>
            <a:off x="2936756" y="2952099"/>
            <a:ext cx="1507488"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rgbClr val="555555"/>
              </a:solidFill>
              <a:latin typeface="+mn-lt"/>
              <a:ea typeface="Roboto" charset="0"/>
              <a:cs typeface="Roboto" charset="0"/>
              <a:sym typeface="Helvetica Light" charset="0"/>
            </a:endParaRPr>
          </a:p>
        </p:txBody>
      </p:sp>
      <p:sp>
        <p:nvSpPr>
          <p:cNvPr id="6" name="AutoShape 4">
            <a:extLst>
              <a:ext uri="{FF2B5EF4-FFF2-40B4-BE49-F238E27FC236}">
                <a16:creationId xmlns:a16="http://schemas.microsoft.com/office/drawing/2014/main" id="{9721553C-C40D-A142-B20B-E3CB6C260896}"/>
              </a:ext>
            </a:extLst>
          </p:cNvPr>
          <p:cNvSpPr>
            <a:spLocks/>
          </p:cNvSpPr>
          <p:nvPr userDrawn="1"/>
        </p:nvSpPr>
        <p:spPr bwMode="auto">
          <a:xfrm>
            <a:off x="5951732" y="2952099"/>
            <a:ext cx="1507488"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accent3"/>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chemeClr val="bg1"/>
              </a:solidFill>
              <a:latin typeface="+mn-lt"/>
              <a:ea typeface="Roboto" charset="0"/>
              <a:cs typeface="Roboto" charset="0"/>
              <a:sym typeface="Helvetica Light" charset="0"/>
            </a:endParaRPr>
          </a:p>
        </p:txBody>
      </p:sp>
      <p:sp>
        <p:nvSpPr>
          <p:cNvPr id="7" name="AutoShape 5">
            <a:extLst>
              <a:ext uri="{FF2B5EF4-FFF2-40B4-BE49-F238E27FC236}">
                <a16:creationId xmlns:a16="http://schemas.microsoft.com/office/drawing/2014/main" id="{0BE0491A-71FB-3A4A-9640-A6F5E50AF78C}"/>
              </a:ext>
            </a:extLst>
          </p:cNvPr>
          <p:cNvSpPr>
            <a:spLocks/>
          </p:cNvSpPr>
          <p:nvPr userDrawn="1"/>
        </p:nvSpPr>
        <p:spPr bwMode="auto">
          <a:xfrm>
            <a:off x="8946722" y="2952099"/>
            <a:ext cx="1507489"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accent4"/>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chemeClr val="bg1"/>
              </a:solidFill>
              <a:latin typeface="+mn-lt"/>
              <a:ea typeface="Roboto" charset="0"/>
              <a:cs typeface="Roboto" charset="0"/>
              <a:sym typeface="Helvetica Light" charset="0"/>
            </a:endParaRPr>
          </a:p>
        </p:txBody>
      </p:sp>
      <p:sp>
        <p:nvSpPr>
          <p:cNvPr id="8" name="AutoShape 13">
            <a:extLst>
              <a:ext uri="{FF2B5EF4-FFF2-40B4-BE49-F238E27FC236}">
                <a16:creationId xmlns:a16="http://schemas.microsoft.com/office/drawing/2014/main" id="{082920F7-5EE8-5549-BA73-15DB47E3A945}"/>
              </a:ext>
            </a:extLst>
          </p:cNvPr>
          <p:cNvSpPr>
            <a:spLocks/>
          </p:cNvSpPr>
          <p:nvPr userDrawn="1"/>
        </p:nvSpPr>
        <p:spPr bwMode="auto">
          <a:xfrm>
            <a:off x="4444244" y="2952099"/>
            <a:ext cx="1507488"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chemeClr val="tx2"/>
              </a:solidFill>
              <a:latin typeface="+mn-lt"/>
              <a:ea typeface="Roboto" charset="0"/>
              <a:cs typeface="Roboto" charset="0"/>
              <a:sym typeface="Helvetica Light" charset="0"/>
            </a:endParaRPr>
          </a:p>
        </p:txBody>
      </p:sp>
      <p:sp>
        <p:nvSpPr>
          <p:cNvPr id="9" name="AutoShape 4">
            <a:extLst>
              <a:ext uri="{FF2B5EF4-FFF2-40B4-BE49-F238E27FC236}">
                <a16:creationId xmlns:a16="http://schemas.microsoft.com/office/drawing/2014/main" id="{47023AC0-0E96-8E43-826E-CED0B9655C42}"/>
              </a:ext>
            </a:extLst>
          </p:cNvPr>
          <p:cNvSpPr>
            <a:spLocks/>
          </p:cNvSpPr>
          <p:nvPr userDrawn="1"/>
        </p:nvSpPr>
        <p:spPr bwMode="auto">
          <a:xfrm>
            <a:off x="7447129" y="2952099"/>
            <a:ext cx="1507488" cy="150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667" b="1" dirty="0">
              <a:solidFill>
                <a:srgbClr val="555555"/>
              </a:solidFill>
              <a:latin typeface="+mn-lt"/>
              <a:ea typeface="Roboto" charset="0"/>
              <a:cs typeface="Roboto" charset="0"/>
              <a:sym typeface="Helvetica Light" charset="0"/>
            </a:endParaRPr>
          </a:p>
        </p:txBody>
      </p:sp>
      <p:grpSp>
        <p:nvGrpSpPr>
          <p:cNvPr id="10" name="Group 9">
            <a:extLst>
              <a:ext uri="{FF2B5EF4-FFF2-40B4-BE49-F238E27FC236}">
                <a16:creationId xmlns:a16="http://schemas.microsoft.com/office/drawing/2014/main" id="{E337E158-FE41-B348-9269-2465A9B83D6C}"/>
              </a:ext>
            </a:extLst>
          </p:cNvPr>
          <p:cNvGrpSpPr/>
          <p:nvPr userDrawn="1"/>
        </p:nvGrpSpPr>
        <p:grpSpPr>
          <a:xfrm>
            <a:off x="2182638" y="2027326"/>
            <a:ext cx="4499615" cy="734071"/>
            <a:chOff x="1502229" y="1654629"/>
            <a:chExt cx="3535587" cy="550553"/>
          </a:xfrm>
        </p:grpSpPr>
        <p:cxnSp>
          <p:nvCxnSpPr>
            <p:cNvPr id="11" name="Straight Connector 10">
              <a:extLst>
                <a:ext uri="{FF2B5EF4-FFF2-40B4-BE49-F238E27FC236}">
                  <a16:creationId xmlns:a16="http://schemas.microsoft.com/office/drawing/2014/main" id="{983C2D22-BFBB-2140-AD6F-F001BC2C174A}"/>
                </a:ext>
              </a:extLst>
            </p:cNvPr>
            <p:cNvCxnSpPr/>
            <p:nvPr/>
          </p:nvCxnSpPr>
          <p:spPr>
            <a:xfrm flipH="1">
              <a:off x="1502229" y="1654629"/>
              <a:ext cx="3526878" cy="0"/>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6520C18-64E2-1447-8431-02FF87CF5542}"/>
                </a:ext>
              </a:extLst>
            </p:cNvPr>
            <p:cNvCxnSpPr/>
            <p:nvPr/>
          </p:nvCxnSpPr>
          <p:spPr>
            <a:xfrm>
              <a:off x="5037816" y="1654629"/>
              <a:ext cx="0" cy="550553"/>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34A4562-001F-4F46-BD7E-4E4AD93F0269}"/>
                </a:ext>
              </a:extLst>
            </p:cNvPr>
            <p:cNvCxnSpPr/>
            <p:nvPr/>
          </p:nvCxnSpPr>
          <p:spPr>
            <a:xfrm>
              <a:off x="1506491" y="1654629"/>
              <a:ext cx="0" cy="451960"/>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grpSp>
      <p:sp>
        <p:nvSpPr>
          <p:cNvPr id="14" name="Triangle 13">
            <a:extLst>
              <a:ext uri="{FF2B5EF4-FFF2-40B4-BE49-F238E27FC236}">
                <a16:creationId xmlns:a16="http://schemas.microsoft.com/office/drawing/2014/main" id="{8C6440D8-A81E-4246-A4CD-51DAB96D75EC}"/>
              </a:ext>
            </a:extLst>
          </p:cNvPr>
          <p:cNvSpPr/>
          <p:nvPr userDrawn="1"/>
        </p:nvSpPr>
        <p:spPr>
          <a:xfrm rot="10800000">
            <a:off x="1947816" y="2491199"/>
            <a:ext cx="413809" cy="316645"/>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15" name="Oval 14">
            <a:extLst>
              <a:ext uri="{FF2B5EF4-FFF2-40B4-BE49-F238E27FC236}">
                <a16:creationId xmlns:a16="http://schemas.microsoft.com/office/drawing/2014/main" id="{45E5BFB9-0F53-2A45-8418-AC3065CA4175}"/>
              </a:ext>
            </a:extLst>
          </p:cNvPr>
          <p:cNvSpPr/>
          <p:nvPr userDrawn="1"/>
        </p:nvSpPr>
        <p:spPr>
          <a:xfrm>
            <a:off x="6552411" y="2775809"/>
            <a:ext cx="259683" cy="25968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cxnSp>
        <p:nvCxnSpPr>
          <p:cNvPr id="17" name="Straight Connector 16">
            <a:extLst>
              <a:ext uri="{FF2B5EF4-FFF2-40B4-BE49-F238E27FC236}">
                <a16:creationId xmlns:a16="http://schemas.microsoft.com/office/drawing/2014/main" id="{05991432-387F-7648-A48A-05B8DE577ED0}"/>
              </a:ext>
            </a:extLst>
          </p:cNvPr>
          <p:cNvCxnSpPr>
            <a:cxnSpLocks/>
          </p:cNvCxnSpPr>
          <p:nvPr userDrawn="1"/>
        </p:nvCxnSpPr>
        <p:spPr>
          <a:xfrm flipH="1">
            <a:off x="6682253" y="5417155"/>
            <a:ext cx="3016452" cy="0"/>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027A1DF-AA8C-D843-A39C-927B8CFAAB25}"/>
              </a:ext>
            </a:extLst>
          </p:cNvPr>
          <p:cNvCxnSpPr/>
          <p:nvPr userDrawn="1"/>
        </p:nvCxnSpPr>
        <p:spPr>
          <a:xfrm flipV="1">
            <a:off x="9705615" y="4552477"/>
            <a:ext cx="0" cy="847744"/>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08EB2C-75DE-E34E-BC76-ACEDD0922472}"/>
              </a:ext>
            </a:extLst>
          </p:cNvPr>
          <p:cNvCxnSpPr/>
          <p:nvPr userDrawn="1"/>
        </p:nvCxnSpPr>
        <p:spPr>
          <a:xfrm flipV="1">
            <a:off x="6682252" y="4866783"/>
            <a:ext cx="0" cy="544237"/>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20" name="Triangle 19">
            <a:extLst>
              <a:ext uri="{FF2B5EF4-FFF2-40B4-BE49-F238E27FC236}">
                <a16:creationId xmlns:a16="http://schemas.microsoft.com/office/drawing/2014/main" id="{14217700-7C7B-6F4A-88BC-F8C447410DB3}"/>
              </a:ext>
            </a:extLst>
          </p:cNvPr>
          <p:cNvSpPr/>
          <p:nvPr userDrawn="1"/>
        </p:nvSpPr>
        <p:spPr>
          <a:xfrm>
            <a:off x="6475348" y="4669115"/>
            <a:ext cx="413809" cy="316645"/>
          </a:xfrm>
          <a:prstGeom prst="triangl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21" name="Oval 20">
            <a:extLst>
              <a:ext uri="{FF2B5EF4-FFF2-40B4-BE49-F238E27FC236}">
                <a16:creationId xmlns:a16="http://schemas.microsoft.com/office/drawing/2014/main" id="{065174D9-E84F-7B4C-BC8D-87B3670502F9}"/>
              </a:ext>
            </a:extLst>
          </p:cNvPr>
          <p:cNvSpPr/>
          <p:nvPr userDrawn="1"/>
        </p:nvSpPr>
        <p:spPr>
          <a:xfrm>
            <a:off x="9570619" y="4390381"/>
            <a:ext cx="259683" cy="259683"/>
          </a:xfrm>
          <a:prstGeom prst="ellipse">
            <a:avLst/>
          </a:prstGeom>
          <a:solidFill>
            <a:srgbClr val="55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29" name="Triangle 28">
            <a:extLst>
              <a:ext uri="{FF2B5EF4-FFF2-40B4-BE49-F238E27FC236}">
                <a16:creationId xmlns:a16="http://schemas.microsoft.com/office/drawing/2014/main" id="{678849FF-8446-8A43-BF85-89674928497F}"/>
              </a:ext>
            </a:extLst>
          </p:cNvPr>
          <p:cNvSpPr/>
          <p:nvPr userDrawn="1"/>
        </p:nvSpPr>
        <p:spPr>
          <a:xfrm rot="5400000">
            <a:off x="9979776" y="3175204"/>
            <a:ext cx="2010888" cy="106128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31" name="Text Placeholder 30">
            <a:extLst>
              <a:ext uri="{FF2B5EF4-FFF2-40B4-BE49-F238E27FC236}">
                <a16:creationId xmlns:a16="http://schemas.microsoft.com/office/drawing/2014/main" id="{6B18D8FC-C025-464C-A848-470AAF313A21}"/>
              </a:ext>
            </a:extLst>
          </p:cNvPr>
          <p:cNvSpPr>
            <a:spLocks noGrp="1"/>
          </p:cNvSpPr>
          <p:nvPr>
            <p:ph type="body" sz="quarter" idx="10" hasCustomPrompt="1"/>
          </p:nvPr>
        </p:nvSpPr>
        <p:spPr>
          <a:xfrm>
            <a:off x="1556826" y="3103190"/>
            <a:ext cx="1232649" cy="1203023"/>
          </a:xfrm>
          <a:prstGeom prst="rect">
            <a:avLst/>
          </a:prstGeom>
        </p:spPr>
        <p:txBody>
          <a:bodyPr anchor="ctr"/>
          <a:lstStyle>
            <a:lvl1pPr marL="0" indent="0" algn="ctr">
              <a:buNone/>
              <a:defRPr sz="2667" b="1">
                <a:solidFill>
                  <a:schemeClr val="bg1"/>
                </a:solidFill>
                <a:latin typeface="+mn-lt"/>
                <a:ea typeface="Roboto" panose="02000000000000000000" pitchFamily="2" charset="0"/>
              </a:defRPr>
            </a:lvl1pPr>
          </a:lstStyle>
          <a:p>
            <a:pPr lvl="0"/>
            <a:r>
              <a:rPr lang="en-US" dirty="0"/>
              <a:t>2013</a:t>
            </a:r>
            <a:endParaRPr dirty="0"/>
          </a:p>
        </p:txBody>
      </p:sp>
      <p:sp>
        <p:nvSpPr>
          <p:cNvPr id="32" name="Text Placeholder 30">
            <a:extLst>
              <a:ext uri="{FF2B5EF4-FFF2-40B4-BE49-F238E27FC236}">
                <a16:creationId xmlns:a16="http://schemas.microsoft.com/office/drawing/2014/main" id="{E637D992-241A-DA4E-B3A4-6F2609978C59}"/>
              </a:ext>
            </a:extLst>
          </p:cNvPr>
          <p:cNvSpPr>
            <a:spLocks noGrp="1"/>
          </p:cNvSpPr>
          <p:nvPr>
            <p:ph type="body" sz="quarter" idx="11" hasCustomPrompt="1"/>
          </p:nvPr>
        </p:nvSpPr>
        <p:spPr>
          <a:xfrm>
            <a:off x="9098654" y="3103190"/>
            <a:ext cx="1232649" cy="1203023"/>
          </a:xfrm>
          <a:prstGeom prst="rect">
            <a:avLst/>
          </a:prstGeom>
        </p:spPr>
        <p:txBody>
          <a:bodyPr anchor="ctr"/>
          <a:lstStyle>
            <a:lvl1pPr marL="0" indent="0" algn="ctr">
              <a:buNone/>
              <a:defRPr sz="2667" b="1">
                <a:solidFill>
                  <a:schemeClr val="bg1"/>
                </a:solidFill>
                <a:latin typeface="+mn-lt"/>
                <a:ea typeface="Roboto" panose="02000000000000000000" pitchFamily="2" charset="0"/>
              </a:defRPr>
            </a:lvl1pPr>
          </a:lstStyle>
          <a:p>
            <a:pPr lvl="0"/>
            <a:r>
              <a:rPr lang="en-US" dirty="0"/>
              <a:t>2018</a:t>
            </a:r>
            <a:endParaRPr dirty="0"/>
          </a:p>
        </p:txBody>
      </p:sp>
      <p:sp>
        <p:nvSpPr>
          <p:cNvPr id="33" name="Text Placeholder 30">
            <a:extLst>
              <a:ext uri="{FF2B5EF4-FFF2-40B4-BE49-F238E27FC236}">
                <a16:creationId xmlns:a16="http://schemas.microsoft.com/office/drawing/2014/main" id="{D25B2BF1-27CC-5A4E-8EC9-27FCE6A89BA5}"/>
              </a:ext>
            </a:extLst>
          </p:cNvPr>
          <p:cNvSpPr>
            <a:spLocks noGrp="1"/>
          </p:cNvSpPr>
          <p:nvPr>
            <p:ph type="body" sz="quarter" idx="12" hasCustomPrompt="1"/>
          </p:nvPr>
        </p:nvSpPr>
        <p:spPr>
          <a:xfrm>
            <a:off x="7583892" y="3103190"/>
            <a:ext cx="1232649" cy="1203023"/>
          </a:xfrm>
          <a:prstGeom prst="rect">
            <a:avLst/>
          </a:prstGeom>
        </p:spPr>
        <p:txBody>
          <a:bodyPr anchor="ctr"/>
          <a:lstStyle>
            <a:lvl1pPr marL="0" indent="0" algn="ctr">
              <a:buNone/>
              <a:defRPr sz="2667" b="1">
                <a:solidFill>
                  <a:schemeClr val="tx2"/>
                </a:solidFill>
                <a:latin typeface="+mn-lt"/>
                <a:ea typeface="Roboto" panose="02000000000000000000" pitchFamily="2" charset="0"/>
              </a:defRPr>
            </a:lvl1pPr>
          </a:lstStyle>
          <a:p>
            <a:pPr lvl="0"/>
            <a:r>
              <a:rPr lang="en-US" dirty="0"/>
              <a:t>2017</a:t>
            </a:r>
            <a:endParaRPr dirty="0"/>
          </a:p>
        </p:txBody>
      </p:sp>
      <p:sp>
        <p:nvSpPr>
          <p:cNvPr id="34" name="Text Placeholder 30">
            <a:extLst>
              <a:ext uri="{FF2B5EF4-FFF2-40B4-BE49-F238E27FC236}">
                <a16:creationId xmlns:a16="http://schemas.microsoft.com/office/drawing/2014/main" id="{FA897C7A-80D7-C741-BC20-98BBEFA6C2A4}"/>
              </a:ext>
            </a:extLst>
          </p:cNvPr>
          <p:cNvSpPr>
            <a:spLocks noGrp="1"/>
          </p:cNvSpPr>
          <p:nvPr>
            <p:ph type="body" sz="quarter" idx="13" hasCustomPrompt="1"/>
          </p:nvPr>
        </p:nvSpPr>
        <p:spPr>
          <a:xfrm>
            <a:off x="6069129" y="3103190"/>
            <a:ext cx="1232649" cy="1203023"/>
          </a:xfrm>
          <a:prstGeom prst="rect">
            <a:avLst/>
          </a:prstGeom>
        </p:spPr>
        <p:txBody>
          <a:bodyPr anchor="ctr"/>
          <a:lstStyle>
            <a:lvl1pPr marL="0" indent="0" algn="ctr">
              <a:buNone/>
              <a:defRPr sz="2667" b="1">
                <a:solidFill>
                  <a:schemeClr val="bg1"/>
                </a:solidFill>
                <a:latin typeface="+mn-lt"/>
                <a:ea typeface="Roboto" panose="02000000000000000000" pitchFamily="2" charset="0"/>
              </a:defRPr>
            </a:lvl1pPr>
          </a:lstStyle>
          <a:p>
            <a:pPr lvl="0"/>
            <a:r>
              <a:rPr lang="en-US" dirty="0"/>
              <a:t>2016</a:t>
            </a:r>
            <a:endParaRPr dirty="0"/>
          </a:p>
        </p:txBody>
      </p:sp>
      <p:sp>
        <p:nvSpPr>
          <p:cNvPr id="35" name="Text Placeholder 30">
            <a:extLst>
              <a:ext uri="{FF2B5EF4-FFF2-40B4-BE49-F238E27FC236}">
                <a16:creationId xmlns:a16="http://schemas.microsoft.com/office/drawing/2014/main" id="{877F80A6-269C-C742-B5F7-982B4E412B22}"/>
              </a:ext>
            </a:extLst>
          </p:cNvPr>
          <p:cNvSpPr>
            <a:spLocks noGrp="1"/>
          </p:cNvSpPr>
          <p:nvPr>
            <p:ph type="body" sz="quarter" idx="14" hasCustomPrompt="1"/>
          </p:nvPr>
        </p:nvSpPr>
        <p:spPr>
          <a:xfrm>
            <a:off x="4572841" y="3103190"/>
            <a:ext cx="1232649" cy="1203023"/>
          </a:xfrm>
          <a:prstGeom prst="rect">
            <a:avLst/>
          </a:prstGeom>
        </p:spPr>
        <p:txBody>
          <a:bodyPr anchor="ctr"/>
          <a:lstStyle>
            <a:lvl1pPr marL="0" indent="0" algn="ctr">
              <a:buNone/>
              <a:defRPr sz="2667" b="1">
                <a:solidFill>
                  <a:schemeClr val="tx2"/>
                </a:solidFill>
                <a:latin typeface="+mn-lt"/>
                <a:ea typeface="Roboto" panose="02000000000000000000" pitchFamily="2" charset="0"/>
              </a:defRPr>
            </a:lvl1pPr>
          </a:lstStyle>
          <a:p>
            <a:pPr lvl="0"/>
            <a:r>
              <a:rPr lang="en-US" dirty="0"/>
              <a:t>2015</a:t>
            </a:r>
            <a:endParaRPr dirty="0"/>
          </a:p>
        </p:txBody>
      </p:sp>
      <p:sp>
        <p:nvSpPr>
          <p:cNvPr id="36" name="Text Placeholder 30">
            <a:extLst>
              <a:ext uri="{FF2B5EF4-FFF2-40B4-BE49-F238E27FC236}">
                <a16:creationId xmlns:a16="http://schemas.microsoft.com/office/drawing/2014/main" id="{BFEBA55E-D06F-7443-8C9D-BF660ED54898}"/>
              </a:ext>
            </a:extLst>
          </p:cNvPr>
          <p:cNvSpPr>
            <a:spLocks noGrp="1"/>
          </p:cNvSpPr>
          <p:nvPr>
            <p:ph type="body" sz="quarter" idx="15" hasCustomPrompt="1"/>
          </p:nvPr>
        </p:nvSpPr>
        <p:spPr>
          <a:xfrm>
            <a:off x="3058077" y="3103190"/>
            <a:ext cx="1232649" cy="1203023"/>
          </a:xfrm>
          <a:prstGeom prst="rect">
            <a:avLst/>
          </a:prstGeom>
        </p:spPr>
        <p:txBody>
          <a:bodyPr anchor="ctr"/>
          <a:lstStyle>
            <a:lvl1pPr marL="0" indent="0" algn="ctr">
              <a:buNone/>
              <a:defRPr sz="2667" b="1">
                <a:solidFill>
                  <a:schemeClr val="tx2"/>
                </a:solidFill>
                <a:latin typeface="+mn-lt"/>
                <a:ea typeface="Roboto" panose="02000000000000000000" pitchFamily="2" charset="0"/>
              </a:defRPr>
            </a:lvl1pPr>
          </a:lstStyle>
          <a:p>
            <a:pPr lvl="0"/>
            <a:r>
              <a:rPr lang="en-US" dirty="0"/>
              <a:t>2014</a:t>
            </a:r>
            <a:endParaRPr dirty="0"/>
          </a:p>
        </p:txBody>
      </p:sp>
      <p:grpSp>
        <p:nvGrpSpPr>
          <p:cNvPr id="44" name="Graphic 6">
            <a:extLst>
              <a:ext uri="{FF2B5EF4-FFF2-40B4-BE49-F238E27FC236}">
                <a16:creationId xmlns:a16="http://schemas.microsoft.com/office/drawing/2014/main" id="{F3F9C0FC-9D18-4920-B1CF-3BBEB7E57B2A}"/>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45" name="Freeform: Shape 44">
              <a:extLst>
                <a:ext uri="{FF2B5EF4-FFF2-40B4-BE49-F238E27FC236}">
                  <a16:creationId xmlns:a16="http://schemas.microsoft.com/office/drawing/2014/main" id="{5182ACA3-5306-4AB5-BF11-78A5F480297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46" name="Freeform: Shape 45">
              <a:extLst>
                <a:ext uri="{FF2B5EF4-FFF2-40B4-BE49-F238E27FC236}">
                  <a16:creationId xmlns:a16="http://schemas.microsoft.com/office/drawing/2014/main" id="{631B8A55-FEC7-425D-A07C-C4353FB9A913}"/>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37" name="Title 10">
            <a:extLst>
              <a:ext uri="{FF2B5EF4-FFF2-40B4-BE49-F238E27FC236}">
                <a16:creationId xmlns:a16="http://schemas.microsoft.com/office/drawing/2014/main" id="{9BA84B9C-64A3-4B25-93DC-52760B699ED9}"/>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Tijdlijn</a:t>
            </a:r>
            <a:endParaRPr lang="en-GB" noProof="0" dirty="0"/>
          </a:p>
        </p:txBody>
      </p:sp>
    </p:spTree>
    <p:extLst>
      <p:ext uri="{BB962C8B-B14F-4D97-AF65-F5344CB8AC3E}">
        <p14:creationId xmlns:p14="http://schemas.microsoft.com/office/powerpoint/2010/main" val="164131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over slid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E329D0C8-40CD-4DFA-98C9-18FC4403D8B2}"/>
              </a:ext>
            </a:extLst>
          </p:cNvPr>
          <p:cNvSpPr/>
          <p:nvPr userDrawn="1"/>
        </p:nvSpPr>
        <p:spPr bwMode="auto">
          <a:xfrm>
            <a:off x="2" y="1935830"/>
            <a:ext cx="6359857" cy="4922172"/>
          </a:xfrm>
          <a:custGeom>
            <a:avLst/>
            <a:gdLst>
              <a:gd name="connsiteX0" fmla="*/ 0 w 4769893"/>
              <a:gd name="connsiteY0" fmla="*/ 0 h 3691629"/>
              <a:gd name="connsiteX1" fmla="*/ 20140 w 4769893"/>
              <a:gd name="connsiteY1" fmla="*/ 10689 h 3691629"/>
              <a:gd name="connsiteX2" fmla="*/ 507130 w 4769893"/>
              <a:gd name="connsiteY2" fmla="*/ 415755 h 3691629"/>
              <a:gd name="connsiteX3" fmla="*/ 2353908 w 4769893"/>
              <a:gd name="connsiteY3" fmla="*/ 2699877 h 3691629"/>
              <a:gd name="connsiteX4" fmla="*/ 4340651 w 4769893"/>
              <a:gd name="connsiteY4" fmla="*/ 3547500 h 3691629"/>
              <a:gd name="connsiteX5" fmla="*/ 4769893 w 4769893"/>
              <a:gd name="connsiteY5" fmla="*/ 3691629 h 3691629"/>
              <a:gd name="connsiteX6" fmla="*/ 0 w 4769893"/>
              <a:gd name="connsiteY6" fmla="*/ 3691629 h 369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9893" h="3691629">
                <a:moveTo>
                  <a:pt x="0" y="0"/>
                </a:moveTo>
                <a:lnTo>
                  <a:pt x="20140" y="10689"/>
                </a:lnTo>
                <a:cubicBezTo>
                  <a:pt x="202401" y="118824"/>
                  <a:pt x="368682" y="253513"/>
                  <a:pt x="507130" y="415755"/>
                </a:cubicBezTo>
                <a:cubicBezTo>
                  <a:pt x="1222896" y="1254821"/>
                  <a:pt x="1180889" y="1903057"/>
                  <a:pt x="2353908" y="2699877"/>
                </a:cubicBezTo>
                <a:cubicBezTo>
                  <a:pt x="2940419" y="3098287"/>
                  <a:pt x="3602464" y="3306232"/>
                  <a:pt x="4340651" y="3547500"/>
                </a:cubicBezTo>
                <a:lnTo>
                  <a:pt x="4769893" y="3691629"/>
                </a:lnTo>
                <a:lnTo>
                  <a:pt x="0" y="3691629"/>
                </a:lnTo>
                <a:close/>
              </a:path>
            </a:pathLst>
          </a:custGeom>
          <a:solidFill>
            <a:schemeClr val="bg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sp>
        <p:nvSpPr>
          <p:cNvPr id="23" name="Freeform: Shape 22">
            <a:extLst>
              <a:ext uri="{FF2B5EF4-FFF2-40B4-BE49-F238E27FC236}">
                <a16:creationId xmlns:a16="http://schemas.microsoft.com/office/drawing/2014/main" id="{DDB4AA2B-1440-4895-B07D-EDBBFF9244F3}"/>
              </a:ext>
            </a:extLst>
          </p:cNvPr>
          <p:cNvSpPr/>
          <p:nvPr userDrawn="1"/>
        </p:nvSpPr>
        <p:spPr bwMode="auto">
          <a:xfrm>
            <a:off x="2505481" y="2844629"/>
            <a:ext cx="9686521" cy="4013371"/>
          </a:xfrm>
          <a:custGeom>
            <a:avLst/>
            <a:gdLst>
              <a:gd name="connsiteX0" fmla="*/ 7264891 w 7264891"/>
              <a:gd name="connsiteY0" fmla="*/ 0 h 3010028"/>
              <a:gd name="connsiteX1" fmla="*/ 7264891 w 7264891"/>
              <a:gd name="connsiteY1" fmla="*/ 3010028 h 3010028"/>
              <a:gd name="connsiteX2" fmla="*/ 0 w 7264891"/>
              <a:gd name="connsiteY2" fmla="*/ 3010028 h 3010028"/>
              <a:gd name="connsiteX3" fmla="*/ 50489 w 7264891"/>
              <a:gd name="connsiteY3" fmla="*/ 2863697 h 3010028"/>
              <a:gd name="connsiteX4" fmla="*/ 2004893 w 7264891"/>
              <a:gd name="connsiteY4" fmla="*/ 1418114 h 3010028"/>
              <a:gd name="connsiteX5" fmla="*/ 5562731 w 7264891"/>
              <a:gd name="connsiteY5" fmla="*/ 1040826 h 3010028"/>
              <a:gd name="connsiteX6" fmla="*/ 7113480 w 7264891"/>
              <a:gd name="connsiteY6" fmla="*/ 115851 h 301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4891" h="3010028">
                <a:moveTo>
                  <a:pt x="7264891" y="0"/>
                </a:moveTo>
                <a:lnTo>
                  <a:pt x="7264891" y="3010028"/>
                </a:lnTo>
                <a:lnTo>
                  <a:pt x="0" y="3010028"/>
                </a:lnTo>
                <a:lnTo>
                  <a:pt x="50489" y="2863697"/>
                </a:lnTo>
                <a:cubicBezTo>
                  <a:pt x="320274" y="2206349"/>
                  <a:pt x="1062922" y="1541297"/>
                  <a:pt x="2004893" y="1418114"/>
                </a:cubicBezTo>
                <a:cubicBezTo>
                  <a:pt x="3333022" y="1246223"/>
                  <a:pt x="4024554" y="1648274"/>
                  <a:pt x="5562731" y="1040826"/>
                </a:cubicBezTo>
                <a:cubicBezTo>
                  <a:pt x="6139545" y="813032"/>
                  <a:pt x="6621613" y="487116"/>
                  <a:pt x="7113480" y="115851"/>
                </a:cubicBezTo>
                <a:close/>
              </a:path>
            </a:pathLst>
          </a:custGeom>
          <a:solidFill>
            <a:schemeClr val="accent1"/>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pic>
        <p:nvPicPr>
          <p:cNvPr id="19" name="Picture 18">
            <a:extLst>
              <a:ext uri="{FF2B5EF4-FFF2-40B4-BE49-F238E27FC236}">
                <a16:creationId xmlns:a16="http://schemas.microsoft.com/office/drawing/2014/main" id="{86D27970-82CD-46B1-87B4-36C1B846408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16726" y="1796819"/>
            <a:ext cx="3952703" cy="5061180"/>
          </a:xfrm>
          <a:prstGeom prst="rect">
            <a:avLst/>
          </a:prstGeom>
        </p:spPr>
      </p:pic>
      <p:sp>
        <p:nvSpPr>
          <p:cNvPr id="21" name="Title 2">
            <a:extLst>
              <a:ext uri="{FF2B5EF4-FFF2-40B4-BE49-F238E27FC236}">
                <a16:creationId xmlns:a16="http://schemas.microsoft.com/office/drawing/2014/main" id="{CB60A203-F874-475E-BA14-61BB9D7FA88D}"/>
              </a:ext>
            </a:extLst>
          </p:cNvPr>
          <p:cNvSpPr>
            <a:spLocks noGrp="1"/>
          </p:cNvSpPr>
          <p:nvPr>
            <p:ph type="title" hasCustomPrompt="1"/>
          </p:nvPr>
        </p:nvSpPr>
        <p:spPr>
          <a:xfrm>
            <a:off x="2255573" y="1126995"/>
            <a:ext cx="5358811" cy="1698847"/>
          </a:xfrm>
          <a:prstGeom prst="rect">
            <a:avLst/>
          </a:prstGeom>
        </p:spPr>
        <p:txBody>
          <a:bodyPr anchor="b" anchorCtr="0"/>
          <a:lstStyle>
            <a:lvl1pPr algn="l">
              <a:defRPr sz="3733">
                <a:solidFill>
                  <a:schemeClr val="tx2"/>
                </a:solidFill>
                <a:latin typeface="Crank 8 Plus Two" panose="02000506030000020004" pitchFamily="50" charset="0"/>
              </a:defRPr>
            </a:lvl1pPr>
          </a:lstStyle>
          <a:p>
            <a:r>
              <a:rPr lang="en-US" dirty="0"/>
              <a:t>Click to edit master text style</a:t>
            </a:r>
            <a:endParaRPr dirty="0"/>
          </a:p>
        </p:txBody>
      </p:sp>
      <p:sp>
        <p:nvSpPr>
          <p:cNvPr id="22" name="Text Placeholder 14">
            <a:extLst>
              <a:ext uri="{FF2B5EF4-FFF2-40B4-BE49-F238E27FC236}">
                <a16:creationId xmlns:a16="http://schemas.microsoft.com/office/drawing/2014/main" id="{10CD8E54-A56D-4614-96A7-C0FA3DD8677F}"/>
              </a:ext>
            </a:extLst>
          </p:cNvPr>
          <p:cNvSpPr>
            <a:spLocks noGrp="1"/>
          </p:cNvSpPr>
          <p:nvPr>
            <p:ph type="body" sz="quarter" idx="10" hasCustomPrompt="1"/>
          </p:nvPr>
        </p:nvSpPr>
        <p:spPr>
          <a:xfrm>
            <a:off x="2256556" y="2861404"/>
            <a:ext cx="5357441" cy="1024201"/>
          </a:xfrm>
          <a:prstGeom prst="rect">
            <a:avLst/>
          </a:prstGeom>
        </p:spPr>
        <p:txBody>
          <a:bodyPr/>
          <a:lstStyle>
            <a:lvl1pPr marL="0" indent="0">
              <a:buNone/>
              <a:defRPr sz="1867">
                <a:solidFill>
                  <a:schemeClr val="tx2"/>
                </a:solidFill>
                <a:latin typeface="+mn-lt"/>
              </a:defRPr>
            </a:lvl1pPr>
          </a:lstStyle>
          <a:p>
            <a:pPr lvl="0"/>
            <a:r>
              <a:rPr lang="nl-BE" dirty="0"/>
              <a:t>Click to add text</a:t>
            </a:r>
            <a:endParaRPr dirty="0"/>
          </a:p>
        </p:txBody>
      </p:sp>
      <p:sp>
        <p:nvSpPr>
          <p:cNvPr id="2" name="Freeform: Shape 1" hidden="1">
            <a:extLst>
              <a:ext uri="{FF2B5EF4-FFF2-40B4-BE49-F238E27FC236}">
                <a16:creationId xmlns:a16="http://schemas.microsoft.com/office/drawing/2014/main" id="{CBE19D22-1D99-49AD-887B-40A6D766E309}"/>
              </a:ext>
            </a:extLst>
          </p:cNvPr>
          <p:cNvSpPr/>
          <p:nvPr userDrawn="1"/>
        </p:nvSpPr>
        <p:spPr bwMode="auto">
          <a:xfrm>
            <a:off x="-1643717" y="1682655"/>
            <a:ext cx="8755164" cy="7066115"/>
          </a:xfrm>
          <a:custGeom>
            <a:avLst/>
            <a:gdLst>
              <a:gd name="connsiteX0" fmla="*/ 798448 w 6566373"/>
              <a:gd name="connsiteY0" fmla="*/ 353449 h 5299586"/>
              <a:gd name="connsiteX1" fmla="*/ 1225168 w 6566373"/>
              <a:gd name="connsiteY1" fmla="*/ 490609 h 5299586"/>
              <a:gd name="connsiteX2" fmla="*/ 1514728 w 6566373"/>
              <a:gd name="connsiteY2" fmla="*/ 635389 h 5299586"/>
              <a:gd name="connsiteX3" fmla="*/ 1705228 w 6566373"/>
              <a:gd name="connsiteY3" fmla="*/ 803029 h 5299586"/>
              <a:gd name="connsiteX4" fmla="*/ 1910968 w 6566373"/>
              <a:gd name="connsiteY4" fmla="*/ 970669 h 5299586"/>
              <a:gd name="connsiteX5" fmla="*/ 2185288 w 6566373"/>
              <a:gd name="connsiteY5" fmla="*/ 1313569 h 5299586"/>
              <a:gd name="connsiteX6" fmla="*/ 2413888 w 6566373"/>
              <a:gd name="connsiteY6" fmla="*/ 1686949 h 5299586"/>
              <a:gd name="connsiteX7" fmla="*/ 2650108 w 6566373"/>
              <a:gd name="connsiteY7" fmla="*/ 2006989 h 5299586"/>
              <a:gd name="connsiteX8" fmla="*/ 2993008 w 6566373"/>
              <a:gd name="connsiteY8" fmla="*/ 2403229 h 5299586"/>
              <a:gd name="connsiteX9" fmla="*/ 3404488 w 6566373"/>
              <a:gd name="connsiteY9" fmla="*/ 2708029 h 5299586"/>
              <a:gd name="connsiteX10" fmla="*/ 3701668 w 6566373"/>
              <a:gd name="connsiteY10" fmla="*/ 2890909 h 5299586"/>
              <a:gd name="connsiteX11" fmla="*/ 4898008 w 6566373"/>
              <a:gd name="connsiteY11" fmla="*/ 3569089 h 5299586"/>
              <a:gd name="connsiteX12" fmla="*/ 5591428 w 6566373"/>
              <a:gd name="connsiteY12" fmla="*/ 3980569 h 5299586"/>
              <a:gd name="connsiteX13" fmla="*/ 6528688 w 6566373"/>
              <a:gd name="connsiteY13" fmla="*/ 4574929 h 5299586"/>
              <a:gd name="connsiteX14" fmla="*/ 4204588 w 6566373"/>
              <a:gd name="connsiteY14" fmla="*/ 5291209 h 5299586"/>
              <a:gd name="connsiteX15" fmla="*/ 165988 w 6566373"/>
              <a:gd name="connsiteY15" fmla="*/ 4590169 h 5299586"/>
              <a:gd name="connsiteX16" fmla="*/ 775588 w 6566373"/>
              <a:gd name="connsiteY16" fmla="*/ 307729 h 5299586"/>
              <a:gd name="connsiteX17" fmla="*/ 798448 w 6566373"/>
              <a:gd name="connsiteY17" fmla="*/ 353449 h 5299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66373" h="5299586">
                <a:moveTo>
                  <a:pt x="798448" y="353449"/>
                </a:moveTo>
                <a:cubicBezTo>
                  <a:pt x="873378" y="383929"/>
                  <a:pt x="1105788" y="443619"/>
                  <a:pt x="1225168" y="490609"/>
                </a:cubicBezTo>
                <a:cubicBezTo>
                  <a:pt x="1344548" y="537599"/>
                  <a:pt x="1434718" y="583319"/>
                  <a:pt x="1514728" y="635389"/>
                </a:cubicBezTo>
                <a:cubicBezTo>
                  <a:pt x="1594738" y="687459"/>
                  <a:pt x="1639188" y="747149"/>
                  <a:pt x="1705228" y="803029"/>
                </a:cubicBezTo>
                <a:cubicBezTo>
                  <a:pt x="1771268" y="858909"/>
                  <a:pt x="1830958" y="885579"/>
                  <a:pt x="1910968" y="970669"/>
                </a:cubicBezTo>
                <a:cubicBezTo>
                  <a:pt x="1990978" y="1055759"/>
                  <a:pt x="2101468" y="1194189"/>
                  <a:pt x="2185288" y="1313569"/>
                </a:cubicBezTo>
                <a:cubicBezTo>
                  <a:pt x="2269108" y="1432949"/>
                  <a:pt x="2336418" y="1571379"/>
                  <a:pt x="2413888" y="1686949"/>
                </a:cubicBezTo>
                <a:cubicBezTo>
                  <a:pt x="2491358" y="1802519"/>
                  <a:pt x="2553588" y="1887609"/>
                  <a:pt x="2650108" y="2006989"/>
                </a:cubicBezTo>
                <a:cubicBezTo>
                  <a:pt x="2746628" y="2126369"/>
                  <a:pt x="2867278" y="2286389"/>
                  <a:pt x="2993008" y="2403229"/>
                </a:cubicBezTo>
                <a:cubicBezTo>
                  <a:pt x="3118738" y="2520069"/>
                  <a:pt x="3286378" y="2626749"/>
                  <a:pt x="3404488" y="2708029"/>
                </a:cubicBezTo>
                <a:cubicBezTo>
                  <a:pt x="3522598" y="2789309"/>
                  <a:pt x="3701668" y="2890909"/>
                  <a:pt x="3701668" y="2890909"/>
                </a:cubicBezTo>
                <a:lnTo>
                  <a:pt x="4898008" y="3569089"/>
                </a:lnTo>
                <a:cubicBezTo>
                  <a:pt x="5212968" y="3750699"/>
                  <a:pt x="5319648" y="3812929"/>
                  <a:pt x="5591428" y="3980569"/>
                </a:cubicBezTo>
                <a:cubicBezTo>
                  <a:pt x="5863208" y="4148209"/>
                  <a:pt x="6759828" y="4356489"/>
                  <a:pt x="6528688" y="4574929"/>
                </a:cubicBezTo>
                <a:cubicBezTo>
                  <a:pt x="6297548" y="4793369"/>
                  <a:pt x="5265038" y="5288669"/>
                  <a:pt x="4204588" y="5291209"/>
                </a:cubicBezTo>
                <a:cubicBezTo>
                  <a:pt x="3144138" y="5293749"/>
                  <a:pt x="737488" y="5420749"/>
                  <a:pt x="165988" y="4590169"/>
                </a:cubicBezTo>
                <a:cubicBezTo>
                  <a:pt x="-405512" y="3759589"/>
                  <a:pt x="673988" y="1011309"/>
                  <a:pt x="775588" y="307729"/>
                </a:cubicBezTo>
                <a:cubicBezTo>
                  <a:pt x="877188" y="-395851"/>
                  <a:pt x="723518" y="322969"/>
                  <a:pt x="798448" y="353449"/>
                </a:cubicBezTo>
                <a:close/>
              </a:path>
            </a:pathLst>
          </a:custGeom>
          <a:solidFill>
            <a:schemeClr val="bg2"/>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grpSp>
        <p:nvGrpSpPr>
          <p:cNvPr id="18" name="Graphic 6">
            <a:extLst>
              <a:ext uri="{FF2B5EF4-FFF2-40B4-BE49-F238E27FC236}">
                <a16:creationId xmlns:a16="http://schemas.microsoft.com/office/drawing/2014/main" id="{2536B996-71B3-4A7D-9B7A-62BA45BB44CD}"/>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0" name="Freeform: Shape 19">
              <a:extLst>
                <a:ext uri="{FF2B5EF4-FFF2-40B4-BE49-F238E27FC236}">
                  <a16:creationId xmlns:a16="http://schemas.microsoft.com/office/drawing/2014/main" id="{D63FC6F8-F107-4DAF-8E16-0624F8CD1F09}"/>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4" name="Freeform: Shape 23">
              <a:extLst>
                <a:ext uri="{FF2B5EF4-FFF2-40B4-BE49-F238E27FC236}">
                  <a16:creationId xmlns:a16="http://schemas.microsoft.com/office/drawing/2014/main" id="{35443000-BEC4-4BA9-8ECC-222F2BCDA6C0}"/>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09568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echarts">
    <p:spTree>
      <p:nvGrpSpPr>
        <p:cNvPr id="1" name=""/>
        <p:cNvGrpSpPr/>
        <p:nvPr/>
      </p:nvGrpSpPr>
      <p:grpSpPr>
        <a:xfrm>
          <a:off x="0" y="0"/>
          <a:ext cx="0" cy="0"/>
          <a:chOff x="0" y="0"/>
          <a:chExt cx="0" cy="0"/>
        </a:xfrm>
      </p:grpSpPr>
      <p:graphicFrame>
        <p:nvGraphicFramePr>
          <p:cNvPr id="3" name="Chart 59">
            <a:extLst>
              <a:ext uri="{FF2B5EF4-FFF2-40B4-BE49-F238E27FC236}">
                <a16:creationId xmlns:a16="http://schemas.microsoft.com/office/drawing/2014/main" id="{BCCE9962-B45B-4B41-A4BA-E1A00DA9AD65}"/>
              </a:ext>
            </a:extLst>
          </p:cNvPr>
          <p:cNvGraphicFramePr/>
          <p:nvPr userDrawn="1"/>
        </p:nvGraphicFramePr>
        <p:xfrm>
          <a:off x="2774122" y="1580077"/>
          <a:ext cx="1838177" cy="1838179"/>
        </p:xfrm>
        <a:graphic>
          <a:graphicData uri="http://schemas.openxmlformats.org/drawingml/2006/chart">
            <c:chart xmlns:c="http://schemas.openxmlformats.org/drawingml/2006/chart" xmlns:r="http://schemas.openxmlformats.org/officeDocument/2006/relationships" r:id="rId2"/>
          </a:graphicData>
        </a:graphic>
      </p:graphicFrame>
      <p:sp>
        <p:nvSpPr>
          <p:cNvPr id="4" name="Shape 61">
            <a:extLst>
              <a:ext uri="{FF2B5EF4-FFF2-40B4-BE49-F238E27FC236}">
                <a16:creationId xmlns:a16="http://schemas.microsoft.com/office/drawing/2014/main" id="{0F2A4924-7210-D04A-8883-17001AE50CDF}"/>
              </a:ext>
            </a:extLst>
          </p:cNvPr>
          <p:cNvSpPr/>
          <p:nvPr userDrawn="1"/>
        </p:nvSpPr>
        <p:spPr>
          <a:xfrm>
            <a:off x="3144725" y="3449425"/>
            <a:ext cx="1096969" cy="587067"/>
          </a:xfrm>
          <a:prstGeom prst="rect">
            <a:avLst/>
          </a:prstGeom>
          <a:ln w="12700">
            <a:miter lim="400000"/>
          </a:ln>
          <a:extLst>
            <a:ext uri="{C572A759-6A51-4108-AA02-DFA0A04FC94B}">
              <ma14:wrappingTextBoxFlag xmlns:ma14="http://schemas.microsoft.com/office/mac/drawingml/2011/main" xmlns="" val="1"/>
            </a:ext>
          </a:extLst>
        </p:spPr>
        <p:txBody>
          <a:bodyPr lIns="67733" tIns="67733" rIns="67733" bIns="67733" anchor="ctr"/>
          <a:lstStyle>
            <a:lvl1pPr algn="ctr">
              <a:defRPr sz="3000" b="1" cap="all" spc="299" baseline="0">
                <a:solidFill>
                  <a:srgbClr val="292B3A"/>
                </a:solidFill>
              </a:defRPr>
            </a:lvl1pPr>
          </a:lstStyle>
          <a:p>
            <a:r>
              <a:rPr sz="2133" spc="0" dirty="0">
                <a:solidFill>
                  <a:schemeClr val="tx2"/>
                </a:solidFill>
                <a:latin typeface="+mn-lt"/>
              </a:rPr>
              <a:t>75%</a:t>
            </a:r>
          </a:p>
        </p:txBody>
      </p:sp>
      <p:graphicFrame>
        <p:nvGraphicFramePr>
          <p:cNvPr id="5" name="Chart 62">
            <a:extLst>
              <a:ext uri="{FF2B5EF4-FFF2-40B4-BE49-F238E27FC236}">
                <a16:creationId xmlns:a16="http://schemas.microsoft.com/office/drawing/2014/main" id="{8AC63972-DFAD-DC43-8AF3-1DDE2E7CE7E5}"/>
              </a:ext>
            </a:extLst>
          </p:cNvPr>
          <p:cNvGraphicFramePr/>
          <p:nvPr userDrawn="1"/>
        </p:nvGraphicFramePr>
        <p:xfrm>
          <a:off x="5018956" y="1580077"/>
          <a:ext cx="1838177" cy="1838179"/>
        </p:xfrm>
        <a:graphic>
          <a:graphicData uri="http://schemas.openxmlformats.org/drawingml/2006/chart">
            <c:chart xmlns:c="http://schemas.openxmlformats.org/drawingml/2006/chart" xmlns:r="http://schemas.openxmlformats.org/officeDocument/2006/relationships" r:id="rId3"/>
          </a:graphicData>
        </a:graphic>
      </p:graphicFrame>
      <p:sp>
        <p:nvSpPr>
          <p:cNvPr id="6" name="Shape 64">
            <a:extLst>
              <a:ext uri="{FF2B5EF4-FFF2-40B4-BE49-F238E27FC236}">
                <a16:creationId xmlns:a16="http://schemas.microsoft.com/office/drawing/2014/main" id="{6C6883E5-FA9B-994C-A4F8-4A453BDB98BC}"/>
              </a:ext>
            </a:extLst>
          </p:cNvPr>
          <p:cNvSpPr/>
          <p:nvPr userDrawn="1"/>
        </p:nvSpPr>
        <p:spPr>
          <a:xfrm>
            <a:off x="5467228" y="3461545"/>
            <a:ext cx="1096969" cy="587067"/>
          </a:xfrm>
          <a:prstGeom prst="rect">
            <a:avLst/>
          </a:prstGeom>
          <a:ln w="12700">
            <a:miter lim="400000"/>
          </a:ln>
          <a:extLst>
            <a:ext uri="{C572A759-6A51-4108-AA02-DFA0A04FC94B}">
              <ma14:wrappingTextBoxFlag xmlns:ma14="http://schemas.microsoft.com/office/mac/drawingml/2011/main" xmlns="" val="1"/>
            </a:ext>
          </a:extLst>
        </p:spPr>
        <p:txBody>
          <a:bodyPr lIns="67733" tIns="67733" rIns="67733" bIns="67733" anchor="ctr"/>
          <a:lstStyle>
            <a:lvl1pPr algn="ctr">
              <a:defRPr sz="3000" b="1" cap="all" spc="299" baseline="0">
                <a:solidFill>
                  <a:srgbClr val="292B3A"/>
                </a:solidFill>
              </a:defRPr>
            </a:lvl1pPr>
          </a:lstStyle>
          <a:p>
            <a:r>
              <a:rPr sz="2133" spc="0" dirty="0">
                <a:solidFill>
                  <a:schemeClr val="tx2"/>
                </a:solidFill>
                <a:latin typeface="+mn-lt"/>
              </a:rPr>
              <a:t>60%</a:t>
            </a:r>
          </a:p>
        </p:txBody>
      </p:sp>
      <p:graphicFrame>
        <p:nvGraphicFramePr>
          <p:cNvPr id="7" name="Chart 65">
            <a:extLst>
              <a:ext uri="{FF2B5EF4-FFF2-40B4-BE49-F238E27FC236}">
                <a16:creationId xmlns:a16="http://schemas.microsoft.com/office/drawing/2014/main" id="{7981DE53-285C-164E-8151-80D8E92FEC20}"/>
              </a:ext>
            </a:extLst>
          </p:cNvPr>
          <p:cNvGraphicFramePr/>
          <p:nvPr userDrawn="1"/>
        </p:nvGraphicFramePr>
        <p:xfrm>
          <a:off x="7263789" y="1580077"/>
          <a:ext cx="1838177" cy="1838179"/>
        </p:xfrm>
        <a:graphic>
          <a:graphicData uri="http://schemas.openxmlformats.org/drawingml/2006/chart">
            <c:chart xmlns:c="http://schemas.openxmlformats.org/drawingml/2006/chart" xmlns:r="http://schemas.openxmlformats.org/officeDocument/2006/relationships" r:id="rId4"/>
          </a:graphicData>
        </a:graphic>
      </p:graphicFrame>
      <p:sp>
        <p:nvSpPr>
          <p:cNvPr id="8" name="Shape 67">
            <a:extLst>
              <a:ext uri="{FF2B5EF4-FFF2-40B4-BE49-F238E27FC236}">
                <a16:creationId xmlns:a16="http://schemas.microsoft.com/office/drawing/2014/main" id="{000925A1-07CA-1D4E-9C05-86DBFA5B205D}"/>
              </a:ext>
            </a:extLst>
          </p:cNvPr>
          <p:cNvSpPr/>
          <p:nvPr userDrawn="1"/>
        </p:nvSpPr>
        <p:spPr>
          <a:xfrm>
            <a:off x="7634392" y="3461545"/>
            <a:ext cx="1096969" cy="587067"/>
          </a:xfrm>
          <a:prstGeom prst="rect">
            <a:avLst/>
          </a:prstGeom>
          <a:ln w="12700">
            <a:miter lim="400000"/>
          </a:ln>
          <a:extLst>
            <a:ext uri="{C572A759-6A51-4108-AA02-DFA0A04FC94B}">
              <ma14:wrappingTextBoxFlag xmlns:ma14="http://schemas.microsoft.com/office/mac/drawingml/2011/main" xmlns="" val="1"/>
            </a:ext>
          </a:extLst>
        </p:spPr>
        <p:txBody>
          <a:bodyPr lIns="67733" tIns="67733" rIns="67733" bIns="67733" anchor="ctr"/>
          <a:lstStyle>
            <a:lvl1pPr algn="ctr">
              <a:defRPr sz="3000" b="1" cap="all" spc="299" baseline="0">
                <a:solidFill>
                  <a:srgbClr val="292B3A"/>
                </a:solidFill>
              </a:defRPr>
            </a:lvl1pPr>
          </a:lstStyle>
          <a:p>
            <a:r>
              <a:rPr sz="2133" spc="0" dirty="0">
                <a:solidFill>
                  <a:schemeClr val="tx2"/>
                </a:solidFill>
                <a:latin typeface="+mn-lt"/>
              </a:rPr>
              <a:t>45%</a:t>
            </a:r>
          </a:p>
        </p:txBody>
      </p:sp>
      <p:sp>
        <p:nvSpPr>
          <p:cNvPr id="19" name="Text Placeholder 21">
            <a:extLst>
              <a:ext uri="{FF2B5EF4-FFF2-40B4-BE49-F238E27FC236}">
                <a16:creationId xmlns:a16="http://schemas.microsoft.com/office/drawing/2014/main" id="{90E1FC0D-564B-2441-B28D-83CA720F337E}"/>
              </a:ext>
            </a:extLst>
          </p:cNvPr>
          <p:cNvSpPr>
            <a:spLocks noGrp="1"/>
          </p:cNvSpPr>
          <p:nvPr>
            <p:ph type="body" sz="quarter" idx="13" hasCustomPrompt="1"/>
          </p:nvPr>
        </p:nvSpPr>
        <p:spPr>
          <a:xfrm>
            <a:off x="1233244" y="4287050"/>
            <a:ext cx="9409597" cy="1911585"/>
          </a:xfrm>
          <a:prstGeom prst="rect">
            <a:avLst/>
          </a:prstGeom>
        </p:spPr>
        <p:txBody>
          <a:bodyPr anchor="t"/>
          <a:lstStyle>
            <a:lvl1pPr marL="0" indent="0" algn="l">
              <a:buNone/>
              <a:defRPr sz="1867">
                <a:solidFill>
                  <a:schemeClr val="tx2"/>
                </a:solidFill>
                <a:latin typeface="+mn-lt"/>
              </a:defRPr>
            </a:lvl1pPr>
          </a:lstStyle>
          <a:p>
            <a:pPr lvl="0"/>
            <a:r>
              <a:rPr lang="en-US" dirty="0"/>
              <a:t>Click to add text</a:t>
            </a:r>
            <a:endParaRPr dirty="0"/>
          </a:p>
        </p:txBody>
      </p:sp>
      <p:grpSp>
        <p:nvGrpSpPr>
          <p:cNvPr id="20" name="Graphic 6">
            <a:extLst>
              <a:ext uri="{FF2B5EF4-FFF2-40B4-BE49-F238E27FC236}">
                <a16:creationId xmlns:a16="http://schemas.microsoft.com/office/drawing/2014/main" id="{EC4F1096-54EC-41C1-BF24-CC335AD66BD5}"/>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21" name="Freeform: Shape 20">
              <a:extLst>
                <a:ext uri="{FF2B5EF4-FFF2-40B4-BE49-F238E27FC236}">
                  <a16:creationId xmlns:a16="http://schemas.microsoft.com/office/drawing/2014/main" id="{48C88F2F-11C7-494B-828E-4BFF6EA34CCD}"/>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2" name="Freeform: Shape 21">
              <a:extLst>
                <a:ext uri="{FF2B5EF4-FFF2-40B4-BE49-F238E27FC236}">
                  <a16:creationId xmlns:a16="http://schemas.microsoft.com/office/drawing/2014/main" id="{3F358C35-29EC-4B9C-B9D1-C872CCE669FE}"/>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13" name="Title 10">
            <a:extLst>
              <a:ext uri="{FF2B5EF4-FFF2-40B4-BE49-F238E27FC236}">
                <a16:creationId xmlns:a16="http://schemas.microsoft.com/office/drawing/2014/main" id="{72B02FD7-B132-450B-8FDD-EFBB9C320728}"/>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Piecharts</a:t>
            </a:r>
            <a:endParaRPr lang="en-GB" noProof="0" dirty="0"/>
          </a:p>
        </p:txBody>
      </p:sp>
    </p:spTree>
    <p:extLst>
      <p:ext uri="{BB962C8B-B14F-4D97-AF65-F5344CB8AC3E}">
        <p14:creationId xmlns:p14="http://schemas.microsoft.com/office/powerpoint/2010/main" val="228012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ProductIncomeChart" descr="Chart each item in a clustered column chart." title="Product income per item chart">
            <a:extLst>
              <a:ext uri="{FF2B5EF4-FFF2-40B4-BE49-F238E27FC236}">
                <a16:creationId xmlns:a16="http://schemas.microsoft.com/office/drawing/2014/main" id="{35FD66B6-5F17-294F-ABC1-8B6EB9055CC6}"/>
              </a:ext>
            </a:extLst>
          </p:cNvPr>
          <p:cNvGraphicFramePr>
            <a:graphicFrameLocks/>
          </p:cNvGraphicFramePr>
          <p:nvPr userDrawn="1"/>
        </p:nvGraphicFramePr>
        <p:xfrm>
          <a:off x="5845321" y="1614283"/>
          <a:ext cx="5531240" cy="421253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21">
            <a:extLst>
              <a:ext uri="{FF2B5EF4-FFF2-40B4-BE49-F238E27FC236}">
                <a16:creationId xmlns:a16="http://schemas.microsoft.com/office/drawing/2014/main" id="{E6969D5F-46A6-834A-A04B-83A1E21A6AEF}"/>
              </a:ext>
            </a:extLst>
          </p:cNvPr>
          <p:cNvSpPr>
            <a:spLocks noGrp="1"/>
          </p:cNvSpPr>
          <p:nvPr>
            <p:ph type="body" sz="quarter" idx="13" hasCustomPrompt="1"/>
          </p:nvPr>
        </p:nvSpPr>
        <p:spPr>
          <a:xfrm>
            <a:off x="523201" y="1902517"/>
            <a:ext cx="4296903" cy="3660083"/>
          </a:xfrm>
          <a:prstGeom prst="rect">
            <a:avLst/>
          </a:prstGeom>
        </p:spPr>
        <p:txBody>
          <a:bodyPr anchor="t"/>
          <a:lstStyle>
            <a:lvl1pPr marL="0" indent="0" algn="l">
              <a:buNone/>
              <a:defRPr sz="1867">
                <a:solidFill>
                  <a:schemeClr val="tx2"/>
                </a:solidFill>
                <a:latin typeface="+mn-lt"/>
              </a:defRPr>
            </a:lvl1pPr>
          </a:lstStyle>
          <a:p>
            <a:pPr lvl="0"/>
            <a:r>
              <a:rPr lang="en-US" dirty="0"/>
              <a:t>Click to add text</a:t>
            </a:r>
            <a:endParaRPr dirty="0"/>
          </a:p>
        </p:txBody>
      </p:sp>
      <p:grpSp>
        <p:nvGrpSpPr>
          <p:cNvPr id="14" name="Graphic 6">
            <a:extLst>
              <a:ext uri="{FF2B5EF4-FFF2-40B4-BE49-F238E27FC236}">
                <a16:creationId xmlns:a16="http://schemas.microsoft.com/office/drawing/2014/main" id="{F6A5C2A3-6EF6-43BB-A3C9-94EED73B448B}"/>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5" name="Freeform: Shape 14">
              <a:extLst>
                <a:ext uri="{FF2B5EF4-FFF2-40B4-BE49-F238E27FC236}">
                  <a16:creationId xmlns:a16="http://schemas.microsoft.com/office/drawing/2014/main" id="{8D38A926-16A1-4304-B91C-77536FBD2D3B}"/>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6" name="Freeform: Shape 15">
              <a:extLst>
                <a:ext uri="{FF2B5EF4-FFF2-40B4-BE49-F238E27FC236}">
                  <a16:creationId xmlns:a16="http://schemas.microsoft.com/office/drawing/2014/main" id="{417D584A-E59F-43A9-9EA9-4BE37C8BA87E}"/>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8" name="Title 10">
            <a:extLst>
              <a:ext uri="{FF2B5EF4-FFF2-40B4-BE49-F238E27FC236}">
                <a16:creationId xmlns:a16="http://schemas.microsoft.com/office/drawing/2014/main" id="{7A81AF5D-87DF-40DD-B13D-6C7C46DA83B5}"/>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err="1"/>
              <a:t>Staafdiagram</a:t>
            </a:r>
            <a:endParaRPr lang="en-GB" noProof="0" dirty="0"/>
          </a:p>
        </p:txBody>
      </p:sp>
    </p:spTree>
    <p:extLst>
      <p:ext uri="{BB962C8B-B14F-4D97-AF65-F5344CB8AC3E}">
        <p14:creationId xmlns:p14="http://schemas.microsoft.com/office/powerpoint/2010/main" val="353674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cture process">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E0794086-273B-BF4C-9A3B-B88913910E0F}"/>
              </a:ext>
            </a:extLst>
          </p:cNvPr>
          <p:cNvCxnSpPr/>
          <p:nvPr userDrawn="1"/>
        </p:nvCxnSpPr>
        <p:spPr>
          <a:xfrm>
            <a:off x="1032934" y="3103616"/>
            <a:ext cx="10278533" cy="0"/>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7CE57E57-19F2-FA4F-8690-8360210C8780}"/>
              </a:ext>
            </a:extLst>
          </p:cNvPr>
          <p:cNvCxnSpPr/>
          <p:nvPr userDrawn="1"/>
        </p:nvCxnSpPr>
        <p:spPr>
          <a:xfrm>
            <a:off x="2208616" y="3804195"/>
            <a:ext cx="0" cy="1304757"/>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6C784A2A-031A-AD45-ACFA-A92BA46830D9}"/>
              </a:ext>
            </a:extLst>
          </p:cNvPr>
          <p:cNvCxnSpPr/>
          <p:nvPr userDrawn="1"/>
        </p:nvCxnSpPr>
        <p:spPr>
          <a:xfrm>
            <a:off x="6141853" y="3804195"/>
            <a:ext cx="0" cy="1304757"/>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BD54B4BB-7EA9-5D47-82A2-1E0E2B396CF4}"/>
              </a:ext>
            </a:extLst>
          </p:cNvPr>
          <p:cNvCxnSpPr/>
          <p:nvPr userDrawn="1"/>
        </p:nvCxnSpPr>
        <p:spPr>
          <a:xfrm>
            <a:off x="10057887" y="3804195"/>
            <a:ext cx="0" cy="1304757"/>
          </a:xfrm>
          <a:prstGeom prst="line">
            <a:avLst/>
          </a:prstGeom>
          <a:ln w="12700">
            <a:solidFill>
              <a:srgbClr val="555555"/>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826226C-7DF3-4340-85E6-3B428F176FDA}"/>
              </a:ext>
            </a:extLst>
          </p:cNvPr>
          <p:cNvSpPr/>
          <p:nvPr userDrawn="1"/>
        </p:nvSpPr>
        <p:spPr>
          <a:xfrm rot="2700000">
            <a:off x="3456661" y="2983045"/>
            <a:ext cx="253340" cy="2533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8" name="Rectangle 7">
            <a:extLst>
              <a:ext uri="{FF2B5EF4-FFF2-40B4-BE49-F238E27FC236}">
                <a16:creationId xmlns:a16="http://schemas.microsoft.com/office/drawing/2014/main" id="{1D0DA2B9-40D1-C940-9C6F-D6B81F1AF9D6}"/>
              </a:ext>
            </a:extLst>
          </p:cNvPr>
          <p:cNvSpPr/>
          <p:nvPr userDrawn="1"/>
        </p:nvSpPr>
        <p:spPr>
          <a:xfrm rot="2700000">
            <a:off x="7353509" y="2983045"/>
            <a:ext cx="253340" cy="2533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18" name="Oval 17">
            <a:extLst>
              <a:ext uri="{FF2B5EF4-FFF2-40B4-BE49-F238E27FC236}">
                <a16:creationId xmlns:a16="http://schemas.microsoft.com/office/drawing/2014/main" id="{B9465864-E85D-C942-8614-D9449CB402A7}"/>
              </a:ext>
            </a:extLst>
          </p:cNvPr>
          <p:cNvSpPr/>
          <p:nvPr userDrawn="1"/>
        </p:nvSpPr>
        <p:spPr>
          <a:xfrm>
            <a:off x="2110005" y="4913598"/>
            <a:ext cx="197223" cy="197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19" name="Oval 18">
            <a:extLst>
              <a:ext uri="{FF2B5EF4-FFF2-40B4-BE49-F238E27FC236}">
                <a16:creationId xmlns:a16="http://schemas.microsoft.com/office/drawing/2014/main" id="{E7FC660E-FCDF-554D-A7D4-41662A6A06AF}"/>
              </a:ext>
            </a:extLst>
          </p:cNvPr>
          <p:cNvSpPr/>
          <p:nvPr userDrawn="1"/>
        </p:nvSpPr>
        <p:spPr>
          <a:xfrm>
            <a:off x="6043242" y="4913598"/>
            <a:ext cx="197223" cy="19722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20" name="Oval 19">
            <a:extLst>
              <a:ext uri="{FF2B5EF4-FFF2-40B4-BE49-F238E27FC236}">
                <a16:creationId xmlns:a16="http://schemas.microsoft.com/office/drawing/2014/main" id="{68FA6605-CCAB-F642-9C38-A239BEBD1A9A}"/>
              </a:ext>
            </a:extLst>
          </p:cNvPr>
          <p:cNvSpPr/>
          <p:nvPr userDrawn="1"/>
        </p:nvSpPr>
        <p:spPr>
          <a:xfrm>
            <a:off x="9959275" y="4913598"/>
            <a:ext cx="197223" cy="19722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22" name="Picture Placeholder 21">
            <a:extLst>
              <a:ext uri="{FF2B5EF4-FFF2-40B4-BE49-F238E27FC236}">
                <a16:creationId xmlns:a16="http://schemas.microsoft.com/office/drawing/2014/main" id="{9E6F2BB6-DA28-D149-AB98-FE8710C65974}"/>
              </a:ext>
            </a:extLst>
          </p:cNvPr>
          <p:cNvSpPr>
            <a:spLocks noGrp="1"/>
          </p:cNvSpPr>
          <p:nvPr>
            <p:ph type="pic" sz="quarter" idx="10"/>
          </p:nvPr>
        </p:nvSpPr>
        <p:spPr>
          <a:xfrm>
            <a:off x="860554" y="1758495"/>
            <a:ext cx="2698716" cy="2687483"/>
          </a:xfrm>
          <a:custGeom>
            <a:avLst/>
            <a:gdLst>
              <a:gd name="connsiteX0" fmla="*/ 0 w 2015611"/>
              <a:gd name="connsiteY0" fmla="*/ 1007806 h 2015611"/>
              <a:gd name="connsiteX1" fmla="*/ 1007806 w 2015611"/>
              <a:gd name="connsiteY1" fmla="*/ 0 h 2015611"/>
              <a:gd name="connsiteX2" fmla="*/ 2015612 w 2015611"/>
              <a:gd name="connsiteY2" fmla="*/ 1007806 h 2015611"/>
              <a:gd name="connsiteX3" fmla="*/ 1007806 w 2015611"/>
              <a:gd name="connsiteY3" fmla="*/ 2015612 h 2015611"/>
              <a:gd name="connsiteX4" fmla="*/ 0 w 2015611"/>
              <a:gd name="connsiteY4" fmla="*/ 1007806 h 2015611"/>
              <a:gd name="connsiteX0" fmla="*/ 8 w 2015620"/>
              <a:gd name="connsiteY0" fmla="*/ 1007806 h 2015612"/>
              <a:gd name="connsiteX1" fmla="*/ 994064 w 2015620"/>
              <a:gd name="connsiteY1" fmla="*/ 0 h 2015612"/>
              <a:gd name="connsiteX2" fmla="*/ 2015620 w 2015620"/>
              <a:gd name="connsiteY2" fmla="*/ 1007806 h 2015612"/>
              <a:gd name="connsiteX3" fmla="*/ 1007814 w 2015620"/>
              <a:gd name="connsiteY3" fmla="*/ 2015612 h 2015612"/>
              <a:gd name="connsiteX4" fmla="*/ 8 w 2015620"/>
              <a:gd name="connsiteY4" fmla="*/ 1007806 h 2015612"/>
              <a:gd name="connsiteX0" fmla="*/ 5554 w 2021166"/>
              <a:gd name="connsiteY0" fmla="*/ 1007806 h 2015612"/>
              <a:gd name="connsiteX1" fmla="*/ 999610 w 2021166"/>
              <a:gd name="connsiteY1" fmla="*/ 0 h 2015612"/>
              <a:gd name="connsiteX2" fmla="*/ 2021166 w 2021166"/>
              <a:gd name="connsiteY2" fmla="*/ 1007806 h 2015612"/>
              <a:gd name="connsiteX3" fmla="*/ 1013360 w 2021166"/>
              <a:gd name="connsiteY3" fmla="*/ 2015612 h 2015612"/>
              <a:gd name="connsiteX4" fmla="*/ 5554 w 2021166"/>
              <a:gd name="connsiteY4" fmla="*/ 1007806 h 2015612"/>
              <a:gd name="connsiteX0" fmla="*/ 139 w 2015751"/>
              <a:gd name="connsiteY0" fmla="*/ 1007806 h 2015612"/>
              <a:gd name="connsiteX1" fmla="*/ 994195 w 2015751"/>
              <a:gd name="connsiteY1" fmla="*/ 0 h 2015612"/>
              <a:gd name="connsiteX2" fmla="*/ 2015751 w 2015751"/>
              <a:gd name="connsiteY2" fmla="*/ 1007806 h 2015612"/>
              <a:gd name="connsiteX3" fmla="*/ 1007945 w 2015751"/>
              <a:gd name="connsiteY3" fmla="*/ 2015612 h 2015612"/>
              <a:gd name="connsiteX4" fmla="*/ 139 w 2015751"/>
              <a:gd name="connsiteY4" fmla="*/ 1007806 h 2015612"/>
              <a:gd name="connsiteX0" fmla="*/ 139 w 2024037"/>
              <a:gd name="connsiteY0" fmla="*/ 1007806 h 2015612"/>
              <a:gd name="connsiteX1" fmla="*/ 994195 w 2024037"/>
              <a:gd name="connsiteY1" fmla="*/ 0 h 2015612"/>
              <a:gd name="connsiteX2" fmla="*/ 2015751 w 2024037"/>
              <a:gd name="connsiteY2" fmla="*/ 1007806 h 2015612"/>
              <a:gd name="connsiteX3" fmla="*/ 1007945 w 2024037"/>
              <a:gd name="connsiteY3" fmla="*/ 2015612 h 2015612"/>
              <a:gd name="connsiteX4" fmla="*/ 139 w 2024037"/>
              <a:gd name="connsiteY4" fmla="*/ 1007806 h 2015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037" h="2015612">
                <a:moveTo>
                  <a:pt x="139" y="1007806"/>
                </a:moveTo>
                <a:cubicBezTo>
                  <a:pt x="-9028" y="520617"/>
                  <a:pt x="437599" y="0"/>
                  <a:pt x="994195" y="0"/>
                </a:cubicBezTo>
                <a:cubicBezTo>
                  <a:pt x="1550791" y="0"/>
                  <a:pt x="2098253" y="458085"/>
                  <a:pt x="2015751" y="1007806"/>
                </a:cubicBezTo>
                <a:cubicBezTo>
                  <a:pt x="2015751" y="1564402"/>
                  <a:pt x="1564541" y="2015612"/>
                  <a:pt x="1007945" y="2015612"/>
                </a:cubicBezTo>
                <a:cubicBezTo>
                  <a:pt x="451349" y="2015612"/>
                  <a:pt x="9306" y="1494995"/>
                  <a:pt x="139" y="1007806"/>
                </a:cubicBezTo>
                <a:close/>
              </a:path>
            </a:pathLst>
          </a:custGeom>
          <a:solidFill>
            <a:schemeClr val="bg2"/>
          </a:solidFill>
          <a:ln w="57150">
            <a:solidFill>
              <a:schemeClr val="accent1"/>
            </a:solidFill>
          </a:ln>
        </p:spPr>
        <p:txBody>
          <a:bodyPr anchor="ctr"/>
          <a:lstStyle>
            <a:lvl1pPr marL="0" indent="0" algn="ctr">
              <a:buNone/>
              <a:defRPr sz="1600">
                <a:solidFill>
                  <a:schemeClr val="tx2"/>
                </a:solidFill>
                <a:latin typeface="+mn-lt"/>
              </a:defRPr>
            </a:lvl1pPr>
          </a:lstStyle>
          <a:p>
            <a:r>
              <a:rPr lang="nl-NL" dirty="0"/>
              <a:t>Klik op het pictogram als u een afbeelding wilt toevoegen</a:t>
            </a:r>
            <a:endParaRPr dirty="0"/>
          </a:p>
        </p:txBody>
      </p:sp>
      <p:sp>
        <p:nvSpPr>
          <p:cNvPr id="23" name="Picture Placeholder 21">
            <a:extLst>
              <a:ext uri="{FF2B5EF4-FFF2-40B4-BE49-F238E27FC236}">
                <a16:creationId xmlns:a16="http://schemas.microsoft.com/office/drawing/2014/main" id="{D74EE8A9-5386-DD48-8ECA-303104ECC718}"/>
              </a:ext>
            </a:extLst>
          </p:cNvPr>
          <p:cNvSpPr>
            <a:spLocks noGrp="1"/>
          </p:cNvSpPr>
          <p:nvPr>
            <p:ph type="pic" sz="quarter" idx="11"/>
          </p:nvPr>
        </p:nvSpPr>
        <p:spPr>
          <a:xfrm>
            <a:off x="4801009" y="1758200"/>
            <a:ext cx="2700347" cy="2687865"/>
          </a:xfrm>
          <a:custGeom>
            <a:avLst/>
            <a:gdLst>
              <a:gd name="connsiteX0" fmla="*/ 0 w 2015611"/>
              <a:gd name="connsiteY0" fmla="*/ 1007806 h 2015611"/>
              <a:gd name="connsiteX1" fmla="*/ 1007806 w 2015611"/>
              <a:gd name="connsiteY1" fmla="*/ 0 h 2015611"/>
              <a:gd name="connsiteX2" fmla="*/ 2015612 w 2015611"/>
              <a:gd name="connsiteY2" fmla="*/ 1007806 h 2015611"/>
              <a:gd name="connsiteX3" fmla="*/ 1007806 w 2015611"/>
              <a:gd name="connsiteY3" fmla="*/ 2015612 h 2015611"/>
              <a:gd name="connsiteX4" fmla="*/ 0 w 2015611"/>
              <a:gd name="connsiteY4" fmla="*/ 1007806 h 2015611"/>
              <a:gd name="connsiteX0" fmla="*/ 8 w 2015620"/>
              <a:gd name="connsiteY0" fmla="*/ 1007806 h 2015612"/>
              <a:gd name="connsiteX1" fmla="*/ 994064 w 2015620"/>
              <a:gd name="connsiteY1" fmla="*/ 0 h 2015612"/>
              <a:gd name="connsiteX2" fmla="*/ 2015620 w 2015620"/>
              <a:gd name="connsiteY2" fmla="*/ 1007806 h 2015612"/>
              <a:gd name="connsiteX3" fmla="*/ 1007814 w 2015620"/>
              <a:gd name="connsiteY3" fmla="*/ 2015612 h 2015612"/>
              <a:gd name="connsiteX4" fmla="*/ 8 w 2015620"/>
              <a:gd name="connsiteY4" fmla="*/ 1007806 h 2015612"/>
              <a:gd name="connsiteX0" fmla="*/ 5554 w 2021166"/>
              <a:gd name="connsiteY0" fmla="*/ 1007806 h 2015612"/>
              <a:gd name="connsiteX1" fmla="*/ 999610 w 2021166"/>
              <a:gd name="connsiteY1" fmla="*/ 0 h 2015612"/>
              <a:gd name="connsiteX2" fmla="*/ 2021166 w 2021166"/>
              <a:gd name="connsiteY2" fmla="*/ 1007806 h 2015612"/>
              <a:gd name="connsiteX3" fmla="*/ 1013360 w 2021166"/>
              <a:gd name="connsiteY3" fmla="*/ 2015612 h 2015612"/>
              <a:gd name="connsiteX4" fmla="*/ 5554 w 2021166"/>
              <a:gd name="connsiteY4" fmla="*/ 1007806 h 2015612"/>
              <a:gd name="connsiteX0" fmla="*/ 139 w 2015751"/>
              <a:gd name="connsiteY0" fmla="*/ 1007806 h 2015612"/>
              <a:gd name="connsiteX1" fmla="*/ 994195 w 2015751"/>
              <a:gd name="connsiteY1" fmla="*/ 0 h 2015612"/>
              <a:gd name="connsiteX2" fmla="*/ 2015751 w 2015751"/>
              <a:gd name="connsiteY2" fmla="*/ 1007806 h 2015612"/>
              <a:gd name="connsiteX3" fmla="*/ 1007945 w 2015751"/>
              <a:gd name="connsiteY3" fmla="*/ 2015612 h 2015612"/>
              <a:gd name="connsiteX4" fmla="*/ 139 w 2015751"/>
              <a:gd name="connsiteY4" fmla="*/ 1007806 h 2015612"/>
              <a:gd name="connsiteX0" fmla="*/ 139 w 2024037"/>
              <a:gd name="connsiteY0" fmla="*/ 1007806 h 2015612"/>
              <a:gd name="connsiteX1" fmla="*/ 994195 w 2024037"/>
              <a:gd name="connsiteY1" fmla="*/ 0 h 2015612"/>
              <a:gd name="connsiteX2" fmla="*/ 2015751 w 2024037"/>
              <a:gd name="connsiteY2" fmla="*/ 1007806 h 2015612"/>
              <a:gd name="connsiteX3" fmla="*/ 1007945 w 2024037"/>
              <a:gd name="connsiteY3" fmla="*/ 2015612 h 2015612"/>
              <a:gd name="connsiteX4" fmla="*/ 139 w 2024037"/>
              <a:gd name="connsiteY4" fmla="*/ 1007806 h 2015612"/>
              <a:gd name="connsiteX0" fmla="*/ 166 w 2025165"/>
              <a:gd name="connsiteY0" fmla="*/ 1007862 h 2015668"/>
              <a:gd name="connsiteX1" fmla="*/ 994222 w 2025165"/>
              <a:gd name="connsiteY1" fmla="*/ 56 h 2015668"/>
              <a:gd name="connsiteX2" fmla="*/ 2015778 w 2025165"/>
              <a:gd name="connsiteY2" fmla="*/ 1007862 h 2015668"/>
              <a:gd name="connsiteX3" fmla="*/ 1007972 w 2025165"/>
              <a:gd name="connsiteY3" fmla="*/ 2015668 h 2015668"/>
              <a:gd name="connsiteX4" fmla="*/ 166 w 2025165"/>
              <a:gd name="connsiteY4" fmla="*/ 1007862 h 2015668"/>
              <a:gd name="connsiteX0" fmla="*/ 135 w 2023873"/>
              <a:gd name="connsiteY0" fmla="*/ 1008028 h 2015834"/>
              <a:gd name="connsiteX1" fmla="*/ 994191 w 2023873"/>
              <a:gd name="connsiteY1" fmla="*/ 222 h 2015834"/>
              <a:gd name="connsiteX2" fmla="*/ 2015747 w 2023873"/>
              <a:gd name="connsiteY2" fmla="*/ 1008028 h 2015834"/>
              <a:gd name="connsiteX3" fmla="*/ 1007941 w 2023873"/>
              <a:gd name="connsiteY3" fmla="*/ 2015834 h 2015834"/>
              <a:gd name="connsiteX4" fmla="*/ 135 w 2023873"/>
              <a:gd name="connsiteY4" fmla="*/ 1008028 h 2015834"/>
              <a:gd name="connsiteX0" fmla="*/ 135 w 2023873"/>
              <a:gd name="connsiteY0" fmla="*/ 1008028 h 2015899"/>
              <a:gd name="connsiteX1" fmla="*/ 994191 w 2023873"/>
              <a:gd name="connsiteY1" fmla="*/ 222 h 2015899"/>
              <a:gd name="connsiteX2" fmla="*/ 2015747 w 2023873"/>
              <a:gd name="connsiteY2" fmla="*/ 1008028 h 2015899"/>
              <a:gd name="connsiteX3" fmla="*/ 1007941 w 2023873"/>
              <a:gd name="connsiteY3" fmla="*/ 2015834 h 2015899"/>
              <a:gd name="connsiteX4" fmla="*/ 135 w 2023873"/>
              <a:gd name="connsiteY4" fmla="*/ 1008028 h 2015899"/>
              <a:gd name="connsiteX0" fmla="*/ 168 w 2025260"/>
              <a:gd name="connsiteY0" fmla="*/ 1008028 h 2015899"/>
              <a:gd name="connsiteX1" fmla="*/ 994224 w 2025260"/>
              <a:gd name="connsiteY1" fmla="*/ 222 h 2015899"/>
              <a:gd name="connsiteX2" fmla="*/ 2015780 w 2025260"/>
              <a:gd name="connsiteY2" fmla="*/ 1008028 h 2015899"/>
              <a:gd name="connsiteX3" fmla="*/ 1007974 w 2025260"/>
              <a:gd name="connsiteY3" fmla="*/ 2015834 h 2015899"/>
              <a:gd name="connsiteX4" fmla="*/ 168 w 2025260"/>
              <a:gd name="connsiteY4" fmla="*/ 1008028 h 2015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5260" h="2015899">
                <a:moveTo>
                  <a:pt x="168" y="1008028"/>
                </a:moveTo>
                <a:cubicBezTo>
                  <a:pt x="-8999" y="520839"/>
                  <a:pt x="355735" y="-12478"/>
                  <a:pt x="994224" y="222"/>
                </a:cubicBezTo>
                <a:cubicBezTo>
                  <a:pt x="1632713" y="12922"/>
                  <a:pt x="2098282" y="458307"/>
                  <a:pt x="2015780" y="1008028"/>
                </a:cubicBezTo>
                <a:cubicBezTo>
                  <a:pt x="2015780" y="1564624"/>
                  <a:pt x="1640770" y="2022184"/>
                  <a:pt x="1007974" y="2015834"/>
                </a:cubicBezTo>
                <a:cubicBezTo>
                  <a:pt x="375178" y="2009484"/>
                  <a:pt x="9335" y="1495217"/>
                  <a:pt x="168" y="1008028"/>
                </a:cubicBezTo>
                <a:close/>
              </a:path>
            </a:pathLst>
          </a:custGeom>
          <a:solidFill>
            <a:schemeClr val="bg2"/>
          </a:solidFill>
          <a:ln w="57150">
            <a:solidFill>
              <a:schemeClr val="accent4"/>
            </a:solidFill>
          </a:ln>
        </p:spPr>
        <p:txBody>
          <a:bodyPr anchor="ctr"/>
          <a:lstStyle>
            <a:lvl1pPr marL="0" indent="0" algn="ctr">
              <a:buNone/>
              <a:defRPr sz="1600">
                <a:solidFill>
                  <a:schemeClr val="tx2"/>
                </a:solidFill>
                <a:latin typeface="+mn-lt"/>
              </a:defRPr>
            </a:lvl1pPr>
          </a:lstStyle>
          <a:p>
            <a:r>
              <a:rPr lang="nl-NL"/>
              <a:t>Klik op het pictogram als u een afbeelding wilt toevoegen</a:t>
            </a:r>
            <a:endParaRPr/>
          </a:p>
        </p:txBody>
      </p:sp>
      <p:sp>
        <p:nvSpPr>
          <p:cNvPr id="24" name="Picture Placeholder 21">
            <a:extLst>
              <a:ext uri="{FF2B5EF4-FFF2-40B4-BE49-F238E27FC236}">
                <a16:creationId xmlns:a16="http://schemas.microsoft.com/office/drawing/2014/main" id="{54479347-73EC-7946-96EC-D176EDE2335E}"/>
              </a:ext>
            </a:extLst>
          </p:cNvPr>
          <p:cNvSpPr>
            <a:spLocks noGrp="1"/>
          </p:cNvSpPr>
          <p:nvPr>
            <p:ph type="pic" sz="quarter" idx="12"/>
          </p:nvPr>
        </p:nvSpPr>
        <p:spPr>
          <a:xfrm>
            <a:off x="8693713" y="1758495"/>
            <a:ext cx="2699047" cy="2687483"/>
          </a:xfrm>
          <a:custGeom>
            <a:avLst/>
            <a:gdLst>
              <a:gd name="connsiteX0" fmla="*/ 0 w 2015611"/>
              <a:gd name="connsiteY0" fmla="*/ 1007806 h 2015611"/>
              <a:gd name="connsiteX1" fmla="*/ 1007806 w 2015611"/>
              <a:gd name="connsiteY1" fmla="*/ 0 h 2015611"/>
              <a:gd name="connsiteX2" fmla="*/ 2015612 w 2015611"/>
              <a:gd name="connsiteY2" fmla="*/ 1007806 h 2015611"/>
              <a:gd name="connsiteX3" fmla="*/ 1007806 w 2015611"/>
              <a:gd name="connsiteY3" fmla="*/ 2015612 h 2015611"/>
              <a:gd name="connsiteX4" fmla="*/ 0 w 2015611"/>
              <a:gd name="connsiteY4" fmla="*/ 1007806 h 2015611"/>
              <a:gd name="connsiteX0" fmla="*/ 8 w 2015620"/>
              <a:gd name="connsiteY0" fmla="*/ 1007806 h 2015612"/>
              <a:gd name="connsiteX1" fmla="*/ 994064 w 2015620"/>
              <a:gd name="connsiteY1" fmla="*/ 0 h 2015612"/>
              <a:gd name="connsiteX2" fmla="*/ 2015620 w 2015620"/>
              <a:gd name="connsiteY2" fmla="*/ 1007806 h 2015612"/>
              <a:gd name="connsiteX3" fmla="*/ 1007814 w 2015620"/>
              <a:gd name="connsiteY3" fmla="*/ 2015612 h 2015612"/>
              <a:gd name="connsiteX4" fmla="*/ 8 w 2015620"/>
              <a:gd name="connsiteY4" fmla="*/ 1007806 h 2015612"/>
              <a:gd name="connsiteX0" fmla="*/ 5554 w 2021166"/>
              <a:gd name="connsiteY0" fmla="*/ 1007806 h 2015612"/>
              <a:gd name="connsiteX1" fmla="*/ 999610 w 2021166"/>
              <a:gd name="connsiteY1" fmla="*/ 0 h 2015612"/>
              <a:gd name="connsiteX2" fmla="*/ 2021166 w 2021166"/>
              <a:gd name="connsiteY2" fmla="*/ 1007806 h 2015612"/>
              <a:gd name="connsiteX3" fmla="*/ 1013360 w 2021166"/>
              <a:gd name="connsiteY3" fmla="*/ 2015612 h 2015612"/>
              <a:gd name="connsiteX4" fmla="*/ 5554 w 2021166"/>
              <a:gd name="connsiteY4" fmla="*/ 1007806 h 2015612"/>
              <a:gd name="connsiteX0" fmla="*/ 139 w 2015751"/>
              <a:gd name="connsiteY0" fmla="*/ 1007806 h 2015612"/>
              <a:gd name="connsiteX1" fmla="*/ 994195 w 2015751"/>
              <a:gd name="connsiteY1" fmla="*/ 0 h 2015612"/>
              <a:gd name="connsiteX2" fmla="*/ 2015751 w 2015751"/>
              <a:gd name="connsiteY2" fmla="*/ 1007806 h 2015612"/>
              <a:gd name="connsiteX3" fmla="*/ 1007945 w 2015751"/>
              <a:gd name="connsiteY3" fmla="*/ 2015612 h 2015612"/>
              <a:gd name="connsiteX4" fmla="*/ 139 w 2015751"/>
              <a:gd name="connsiteY4" fmla="*/ 1007806 h 2015612"/>
              <a:gd name="connsiteX0" fmla="*/ 139 w 2024037"/>
              <a:gd name="connsiteY0" fmla="*/ 1007806 h 2015612"/>
              <a:gd name="connsiteX1" fmla="*/ 994195 w 2024037"/>
              <a:gd name="connsiteY1" fmla="*/ 0 h 2015612"/>
              <a:gd name="connsiteX2" fmla="*/ 2015751 w 2024037"/>
              <a:gd name="connsiteY2" fmla="*/ 1007806 h 2015612"/>
              <a:gd name="connsiteX3" fmla="*/ 1007945 w 2024037"/>
              <a:gd name="connsiteY3" fmla="*/ 2015612 h 2015612"/>
              <a:gd name="connsiteX4" fmla="*/ 139 w 2024037"/>
              <a:gd name="connsiteY4" fmla="*/ 1007806 h 2015612"/>
              <a:gd name="connsiteX0" fmla="*/ 387 w 2024285"/>
              <a:gd name="connsiteY0" fmla="*/ 1007806 h 2015612"/>
              <a:gd name="connsiteX1" fmla="*/ 994443 w 2024285"/>
              <a:gd name="connsiteY1" fmla="*/ 0 h 2015612"/>
              <a:gd name="connsiteX2" fmla="*/ 2015999 w 2024285"/>
              <a:gd name="connsiteY2" fmla="*/ 1007806 h 2015612"/>
              <a:gd name="connsiteX3" fmla="*/ 1008193 w 2024285"/>
              <a:gd name="connsiteY3" fmla="*/ 2015612 h 2015612"/>
              <a:gd name="connsiteX4" fmla="*/ 387 w 2024285"/>
              <a:gd name="connsiteY4" fmla="*/ 1007806 h 2015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4285" h="2015612">
                <a:moveTo>
                  <a:pt x="387" y="1007806"/>
                </a:moveTo>
                <a:cubicBezTo>
                  <a:pt x="-15130" y="444417"/>
                  <a:pt x="437847" y="0"/>
                  <a:pt x="994443" y="0"/>
                </a:cubicBezTo>
                <a:cubicBezTo>
                  <a:pt x="1551039" y="0"/>
                  <a:pt x="2098501" y="458085"/>
                  <a:pt x="2015999" y="1007806"/>
                </a:cubicBezTo>
                <a:cubicBezTo>
                  <a:pt x="2015999" y="1564402"/>
                  <a:pt x="1564789" y="2015612"/>
                  <a:pt x="1008193" y="2015612"/>
                </a:cubicBezTo>
                <a:cubicBezTo>
                  <a:pt x="451597" y="2015612"/>
                  <a:pt x="15904" y="1571195"/>
                  <a:pt x="387" y="1007806"/>
                </a:cubicBezTo>
                <a:close/>
              </a:path>
            </a:pathLst>
          </a:custGeom>
          <a:solidFill>
            <a:schemeClr val="bg2"/>
          </a:solidFill>
          <a:ln w="57150">
            <a:solidFill>
              <a:schemeClr val="accent3"/>
            </a:solidFill>
          </a:ln>
        </p:spPr>
        <p:txBody>
          <a:bodyPr anchor="ctr"/>
          <a:lstStyle>
            <a:lvl1pPr marL="0" indent="0" algn="ctr">
              <a:buNone/>
              <a:defRPr sz="1600">
                <a:solidFill>
                  <a:schemeClr val="tx2"/>
                </a:solidFill>
                <a:latin typeface="+mn-lt"/>
              </a:defRPr>
            </a:lvl1pPr>
          </a:lstStyle>
          <a:p>
            <a:r>
              <a:rPr lang="nl-NL"/>
              <a:t>Klik op het pictogram als u een afbeelding wilt toevoegen</a:t>
            </a:r>
            <a:endParaRPr/>
          </a:p>
        </p:txBody>
      </p:sp>
      <p:sp>
        <p:nvSpPr>
          <p:cNvPr id="25" name="Text Placeholder 21">
            <a:extLst>
              <a:ext uri="{FF2B5EF4-FFF2-40B4-BE49-F238E27FC236}">
                <a16:creationId xmlns:a16="http://schemas.microsoft.com/office/drawing/2014/main" id="{B35D6ED4-1D9E-C841-80B6-FBB1882402B4}"/>
              </a:ext>
            </a:extLst>
          </p:cNvPr>
          <p:cNvSpPr>
            <a:spLocks noGrp="1"/>
          </p:cNvSpPr>
          <p:nvPr>
            <p:ph type="body" sz="quarter" idx="13" hasCustomPrompt="1"/>
          </p:nvPr>
        </p:nvSpPr>
        <p:spPr>
          <a:xfrm>
            <a:off x="764355" y="5334654"/>
            <a:ext cx="2888520"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21" name="Text Placeholder 21">
            <a:extLst>
              <a:ext uri="{FF2B5EF4-FFF2-40B4-BE49-F238E27FC236}">
                <a16:creationId xmlns:a16="http://schemas.microsoft.com/office/drawing/2014/main" id="{E4C03FA9-943F-0148-AEA4-1BC0286692D1}"/>
              </a:ext>
            </a:extLst>
          </p:cNvPr>
          <p:cNvSpPr>
            <a:spLocks noGrp="1"/>
          </p:cNvSpPr>
          <p:nvPr>
            <p:ph type="body" sz="quarter" idx="14" hasCustomPrompt="1"/>
          </p:nvPr>
        </p:nvSpPr>
        <p:spPr>
          <a:xfrm>
            <a:off x="4697592" y="5334654"/>
            <a:ext cx="2888520"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31" name="Text Placeholder 21">
            <a:extLst>
              <a:ext uri="{FF2B5EF4-FFF2-40B4-BE49-F238E27FC236}">
                <a16:creationId xmlns:a16="http://schemas.microsoft.com/office/drawing/2014/main" id="{FCC6A86E-7D7F-CD49-A80A-9D218FFDA1CF}"/>
              </a:ext>
            </a:extLst>
          </p:cNvPr>
          <p:cNvSpPr>
            <a:spLocks noGrp="1"/>
          </p:cNvSpPr>
          <p:nvPr>
            <p:ph type="body" sz="quarter" idx="15" hasCustomPrompt="1"/>
          </p:nvPr>
        </p:nvSpPr>
        <p:spPr>
          <a:xfrm>
            <a:off x="8622772" y="5334654"/>
            <a:ext cx="2888520"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grpSp>
        <p:nvGrpSpPr>
          <p:cNvPr id="36" name="Graphic 6">
            <a:extLst>
              <a:ext uri="{FF2B5EF4-FFF2-40B4-BE49-F238E27FC236}">
                <a16:creationId xmlns:a16="http://schemas.microsoft.com/office/drawing/2014/main" id="{97E25ADF-C747-4366-A563-CDBC74A67B91}"/>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37" name="Freeform: Shape 36">
              <a:extLst>
                <a:ext uri="{FF2B5EF4-FFF2-40B4-BE49-F238E27FC236}">
                  <a16:creationId xmlns:a16="http://schemas.microsoft.com/office/drawing/2014/main" id="{9299B2BF-FD92-4D19-B0B5-AF57FBB21968}"/>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38" name="Freeform: Shape 37">
              <a:extLst>
                <a:ext uri="{FF2B5EF4-FFF2-40B4-BE49-F238E27FC236}">
                  <a16:creationId xmlns:a16="http://schemas.microsoft.com/office/drawing/2014/main" id="{0062C11C-A071-4BE4-82CB-0D7D1A141318}"/>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6" name="Title 10">
            <a:extLst>
              <a:ext uri="{FF2B5EF4-FFF2-40B4-BE49-F238E27FC236}">
                <a16:creationId xmlns:a16="http://schemas.microsoft.com/office/drawing/2014/main" id="{BD53C899-C7C4-4FB6-88AD-2B2E0F6F2F9D}"/>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Picture Process</a:t>
            </a:r>
          </a:p>
        </p:txBody>
      </p:sp>
    </p:spTree>
    <p:extLst>
      <p:ext uri="{BB962C8B-B14F-4D97-AF65-F5344CB8AC3E}">
        <p14:creationId xmlns:p14="http://schemas.microsoft.com/office/powerpoint/2010/main" val="223569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 stappen">
    <p:spTree>
      <p:nvGrpSpPr>
        <p:cNvPr id="1" name=""/>
        <p:cNvGrpSpPr/>
        <p:nvPr/>
      </p:nvGrpSpPr>
      <p:grpSpPr>
        <a:xfrm>
          <a:off x="0" y="0"/>
          <a:ext cx="0" cy="0"/>
          <a:chOff x="0" y="0"/>
          <a:chExt cx="0" cy="0"/>
        </a:xfrm>
      </p:grpSpPr>
      <p:sp>
        <p:nvSpPr>
          <p:cNvPr id="3" name="AutoShape 3">
            <a:extLst>
              <a:ext uri="{FF2B5EF4-FFF2-40B4-BE49-F238E27FC236}">
                <a16:creationId xmlns:a16="http://schemas.microsoft.com/office/drawing/2014/main" id="{35C1DE76-DE62-3645-AF40-0EAEE7028D00}"/>
              </a:ext>
            </a:extLst>
          </p:cNvPr>
          <p:cNvSpPr>
            <a:spLocks/>
          </p:cNvSpPr>
          <p:nvPr userDrawn="1"/>
        </p:nvSpPr>
        <p:spPr bwMode="auto">
          <a:xfrm>
            <a:off x="1672775" y="3501245"/>
            <a:ext cx="1497053" cy="1632831"/>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838 w 19850"/>
              <a:gd name="connsiteY0" fmla="*/ 0 h 21600"/>
              <a:gd name="connsiteX1" fmla="*/ 2881 w 19850"/>
              <a:gd name="connsiteY1" fmla="*/ 2835 h 21600"/>
              <a:gd name="connsiteX2" fmla="*/ 2881 w 19850"/>
              <a:gd name="connsiteY2" fmla="*/ 16530 h 21600"/>
              <a:gd name="connsiteX3" fmla="*/ 9197 w 19850"/>
              <a:gd name="connsiteY3" fmla="*/ 19335 h 21600"/>
              <a:gd name="connsiteX4" fmla="*/ 7797 w 19850"/>
              <a:gd name="connsiteY4" fmla="*/ 21600 h 21600"/>
              <a:gd name="connsiteX5" fmla="*/ 10751 w 19850"/>
              <a:gd name="connsiteY5" fmla="*/ 20282 h 21600"/>
              <a:gd name="connsiteX6" fmla="*/ 11572 w 19850"/>
              <a:gd name="connsiteY6" fmla="*/ 19211 h 21600"/>
              <a:gd name="connsiteX7" fmla="*/ 16796 w 19850"/>
              <a:gd name="connsiteY7" fmla="*/ 16530 h 21600"/>
              <a:gd name="connsiteX8" fmla="*/ 16796 w 19850"/>
              <a:gd name="connsiteY8" fmla="*/ 2835 h 21600"/>
              <a:gd name="connsiteX9" fmla="*/ 9838 w 19850"/>
              <a:gd name="connsiteY9" fmla="*/ 0 h 21600"/>
              <a:gd name="connsiteX10" fmla="*/ 9838 w 19850"/>
              <a:gd name="connsiteY10" fmla="*/ 3047 h 21600"/>
              <a:gd name="connsiteX11" fmla="*/ 14607 w 19850"/>
              <a:gd name="connsiteY11" fmla="*/ 4990 h 21600"/>
              <a:gd name="connsiteX12" fmla="*/ 14607 w 19850"/>
              <a:gd name="connsiteY12" fmla="*/ 14375 h 21600"/>
              <a:gd name="connsiteX13" fmla="*/ 5070 w 19850"/>
              <a:gd name="connsiteY13" fmla="*/ 14375 h 21600"/>
              <a:gd name="connsiteX14" fmla="*/ 5070 w 19850"/>
              <a:gd name="connsiteY14" fmla="*/ 4990 h 21600"/>
              <a:gd name="connsiteX15" fmla="*/ 9838 w 19850"/>
              <a:gd name="connsiteY15" fmla="*/ 3047 h 21600"/>
              <a:gd name="connsiteX0" fmla="*/ 10112 w 20124"/>
              <a:gd name="connsiteY0" fmla="*/ 0 h 21600"/>
              <a:gd name="connsiteX1" fmla="*/ 3155 w 20124"/>
              <a:gd name="connsiteY1" fmla="*/ 2835 h 21600"/>
              <a:gd name="connsiteX2" fmla="*/ 3155 w 20124"/>
              <a:gd name="connsiteY2" fmla="*/ 16530 h 21600"/>
              <a:gd name="connsiteX3" fmla="*/ 9471 w 20124"/>
              <a:gd name="connsiteY3" fmla="*/ 19335 h 21600"/>
              <a:gd name="connsiteX4" fmla="*/ 8071 w 20124"/>
              <a:gd name="connsiteY4" fmla="*/ 21600 h 21600"/>
              <a:gd name="connsiteX5" fmla="*/ 11025 w 20124"/>
              <a:gd name="connsiteY5" fmla="*/ 20282 h 21600"/>
              <a:gd name="connsiteX6" fmla="*/ 11846 w 20124"/>
              <a:gd name="connsiteY6" fmla="*/ 19211 h 21600"/>
              <a:gd name="connsiteX7" fmla="*/ 17070 w 20124"/>
              <a:gd name="connsiteY7" fmla="*/ 16530 h 21600"/>
              <a:gd name="connsiteX8" fmla="*/ 17070 w 20124"/>
              <a:gd name="connsiteY8" fmla="*/ 2835 h 21600"/>
              <a:gd name="connsiteX9" fmla="*/ 10112 w 20124"/>
              <a:gd name="connsiteY9" fmla="*/ 0 h 21600"/>
              <a:gd name="connsiteX10" fmla="*/ 10112 w 20124"/>
              <a:gd name="connsiteY10" fmla="*/ 3047 h 21600"/>
              <a:gd name="connsiteX11" fmla="*/ 14881 w 20124"/>
              <a:gd name="connsiteY11" fmla="*/ 4990 h 21600"/>
              <a:gd name="connsiteX12" fmla="*/ 14881 w 20124"/>
              <a:gd name="connsiteY12" fmla="*/ 14375 h 21600"/>
              <a:gd name="connsiteX13" fmla="*/ 5344 w 20124"/>
              <a:gd name="connsiteY13" fmla="*/ 14375 h 21600"/>
              <a:gd name="connsiteX14" fmla="*/ 5344 w 20124"/>
              <a:gd name="connsiteY14" fmla="*/ 4990 h 21600"/>
              <a:gd name="connsiteX15" fmla="*/ 10112 w 20124"/>
              <a:gd name="connsiteY15" fmla="*/ 3047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24" h="21600">
                <a:moveTo>
                  <a:pt x="10112" y="0"/>
                </a:moveTo>
                <a:cubicBezTo>
                  <a:pt x="7595" y="0"/>
                  <a:pt x="5302" y="1205"/>
                  <a:pt x="3155" y="2835"/>
                </a:cubicBezTo>
                <a:cubicBezTo>
                  <a:pt x="-1402" y="6296"/>
                  <a:pt x="-687" y="12749"/>
                  <a:pt x="3155" y="16530"/>
                </a:cubicBezTo>
                <a:cubicBezTo>
                  <a:pt x="4913" y="18260"/>
                  <a:pt x="7171" y="19188"/>
                  <a:pt x="9471" y="19335"/>
                </a:cubicBezTo>
                <a:cubicBezTo>
                  <a:pt x="9192" y="20157"/>
                  <a:pt x="8727" y="20930"/>
                  <a:pt x="8071" y="21600"/>
                </a:cubicBezTo>
                <a:cubicBezTo>
                  <a:pt x="9148" y="21508"/>
                  <a:pt x="10201" y="21069"/>
                  <a:pt x="11025" y="20282"/>
                </a:cubicBezTo>
                <a:cubicBezTo>
                  <a:pt x="11365" y="19958"/>
                  <a:pt x="11631" y="19595"/>
                  <a:pt x="11846" y="19211"/>
                </a:cubicBezTo>
                <a:cubicBezTo>
                  <a:pt x="13760" y="18876"/>
                  <a:pt x="15717" y="18104"/>
                  <a:pt x="17070" y="16530"/>
                </a:cubicBezTo>
                <a:cubicBezTo>
                  <a:pt x="21367" y="11533"/>
                  <a:pt x="20912" y="6616"/>
                  <a:pt x="17070" y="2835"/>
                </a:cubicBezTo>
                <a:cubicBezTo>
                  <a:pt x="15149" y="944"/>
                  <a:pt x="12630" y="0"/>
                  <a:pt x="10112" y="0"/>
                </a:cubicBezTo>
                <a:close/>
                <a:moveTo>
                  <a:pt x="10112" y="3047"/>
                </a:moveTo>
                <a:cubicBezTo>
                  <a:pt x="11838" y="3047"/>
                  <a:pt x="13564" y="3694"/>
                  <a:pt x="14881" y="4990"/>
                </a:cubicBezTo>
                <a:cubicBezTo>
                  <a:pt x="17514" y="7581"/>
                  <a:pt x="17514" y="11784"/>
                  <a:pt x="14881" y="14375"/>
                </a:cubicBezTo>
                <a:cubicBezTo>
                  <a:pt x="12247" y="16967"/>
                  <a:pt x="7977" y="16967"/>
                  <a:pt x="5344" y="14375"/>
                </a:cubicBezTo>
                <a:cubicBezTo>
                  <a:pt x="2711" y="11784"/>
                  <a:pt x="2711" y="7581"/>
                  <a:pt x="5344" y="4990"/>
                </a:cubicBezTo>
                <a:cubicBezTo>
                  <a:pt x="6661" y="3694"/>
                  <a:pt x="8387" y="3047"/>
                  <a:pt x="10112" y="3047"/>
                </a:cubicBezTo>
                <a:close/>
              </a:path>
            </a:pathLst>
          </a:custGeom>
          <a:solidFill>
            <a:schemeClr val="accent4"/>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B7EDE6"/>
              </a:solidFill>
              <a:latin typeface="Crank 8 Plus Two" panose="02000506030000020004" pitchFamily="50" charset="0"/>
              <a:cs typeface="Roboto" panose="02000000000000000000" pitchFamily="2" charset="0"/>
              <a:sym typeface="Helvetica Light" charset="0"/>
            </a:endParaRPr>
          </a:p>
        </p:txBody>
      </p:sp>
      <p:sp>
        <p:nvSpPr>
          <p:cNvPr id="4" name="AutoShape 4">
            <a:extLst>
              <a:ext uri="{FF2B5EF4-FFF2-40B4-BE49-F238E27FC236}">
                <a16:creationId xmlns:a16="http://schemas.microsoft.com/office/drawing/2014/main" id="{71D41DAE-C768-DA4A-8A8B-A93E0CB04874}"/>
              </a:ext>
            </a:extLst>
          </p:cNvPr>
          <p:cNvSpPr>
            <a:spLocks/>
          </p:cNvSpPr>
          <p:nvPr userDrawn="1"/>
        </p:nvSpPr>
        <p:spPr bwMode="auto">
          <a:xfrm>
            <a:off x="3157108" y="2580655"/>
            <a:ext cx="1482248" cy="1651187"/>
          </a:xfrm>
          <a:custGeom>
            <a:avLst/>
            <a:gdLst>
              <a:gd name="T0" fmla="+- 0 10800 961"/>
              <a:gd name="T1" fmla="*/ T0 w 19679"/>
              <a:gd name="T2" fmla="*/ 10352 h 20704"/>
              <a:gd name="T3" fmla="+- 0 10800 961"/>
              <a:gd name="T4" fmla="*/ T3 w 19679"/>
              <a:gd name="T5" fmla="*/ 10352 h 20704"/>
              <a:gd name="T6" fmla="+- 0 10800 961"/>
              <a:gd name="T7" fmla="*/ T6 w 19679"/>
              <a:gd name="T8" fmla="*/ 10352 h 20704"/>
              <a:gd name="T9" fmla="+- 0 10800 961"/>
              <a:gd name="T10" fmla="*/ T9 w 19679"/>
              <a:gd name="T11" fmla="*/ 10352 h 20704"/>
              <a:gd name="connsiteX0" fmla="*/ 11880 w 19677"/>
              <a:gd name="connsiteY0" fmla="*/ 0 h 20703"/>
              <a:gd name="connsiteX1" fmla="*/ 8926 w 19677"/>
              <a:gd name="connsiteY1" fmla="*/ 1250 h 20703"/>
              <a:gd name="connsiteX2" fmla="*/ 7960 w 19677"/>
              <a:gd name="connsiteY2" fmla="*/ 2524 h 20703"/>
              <a:gd name="connsiteX3" fmla="*/ 2881 w 19677"/>
              <a:gd name="connsiteY3" fmla="*/ 5043 h 20703"/>
              <a:gd name="connsiteX4" fmla="*/ 2881 w 19677"/>
              <a:gd name="connsiteY4" fmla="*/ 18017 h 20703"/>
              <a:gd name="connsiteX5" fmla="*/ 16796 w 19677"/>
              <a:gd name="connsiteY5" fmla="*/ 18017 h 20703"/>
              <a:gd name="connsiteX6" fmla="*/ 16796 w 19677"/>
              <a:gd name="connsiteY6" fmla="*/ 5043 h 20703"/>
              <a:gd name="connsiteX7" fmla="*/ 10412 w 19677"/>
              <a:gd name="connsiteY7" fmla="*/ 2383 h 20703"/>
              <a:gd name="connsiteX8" fmla="*/ 11880 w 19677"/>
              <a:gd name="connsiteY8" fmla="*/ 0 h 20703"/>
              <a:gd name="connsiteX9" fmla="*/ 9838 w 19677"/>
              <a:gd name="connsiteY9" fmla="*/ 5244 h 20703"/>
              <a:gd name="connsiteX10" fmla="*/ 14607 w 19677"/>
              <a:gd name="connsiteY10" fmla="*/ 7085 h 20703"/>
              <a:gd name="connsiteX11" fmla="*/ 14607 w 19677"/>
              <a:gd name="connsiteY11" fmla="*/ 15976 h 20703"/>
              <a:gd name="connsiteX12" fmla="*/ 5070 w 19677"/>
              <a:gd name="connsiteY12" fmla="*/ 15976 h 20703"/>
              <a:gd name="connsiteX13" fmla="*/ 5070 w 19677"/>
              <a:gd name="connsiteY13" fmla="*/ 7085 h 20703"/>
              <a:gd name="connsiteX14" fmla="*/ 9838 w 19677"/>
              <a:gd name="connsiteY14" fmla="*/ 5244 h 20703"/>
              <a:gd name="connsiteX0" fmla="*/ 11880 w 19925"/>
              <a:gd name="connsiteY0" fmla="*/ 0 h 20681"/>
              <a:gd name="connsiteX1" fmla="*/ 8926 w 19925"/>
              <a:gd name="connsiteY1" fmla="*/ 1250 h 20681"/>
              <a:gd name="connsiteX2" fmla="*/ 7960 w 19925"/>
              <a:gd name="connsiteY2" fmla="*/ 2524 h 20681"/>
              <a:gd name="connsiteX3" fmla="*/ 2881 w 19925"/>
              <a:gd name="connsiteY3" fmla="*/ 5043 h 20681"/>
              <a:gd name="connsiteX4" fmla="*/ 2881 w 19925"/>
              <a:gd name="connsiteY4" fmla="*/ 18017 h 20681"/>
              <a:gd name="connsiteX5" fmla="*/ 16796 w 19925"/>
              <a:gd name="connsiteY5" fmla="*/ 18017 h 20681"/>
              <a:gd name="connsiteX6" fmla="*/ 16796 w 19925"/>
              <a:gd name="connsiteY6" fmla="*/ 5043 h 20681"/>
              <a:gd name="connsiteX7" fmla="*/ 10412 w 19925"/>
              <a:gd name="connsiteY7" fmla="*/ 2383 h 20681"/>
              <a:gd name="connsiteX8" fmla="*/ 11880 w 19925"/>
              <a:gd name="connsiteY8" fmla="*/ 0 h 20681"/>
              <a:gd name="connsiteX9" fmla="*/ 9838 w 19925"/>
              <a:gd name="connsiteY9" fmla="*/ 5244 h 20681"/>
              <a:gd name="connsiteX10" fmla="*/ 14607 w 19925"/>
              <a:gd name="connsiteY10" fmla="*/ 7085 h 20681"/>
              <a:gd name="connsiteX11" fmla="*/ 14607 w 19925"/>
              <a:gd name="connsiteY11" fmla="*/ 15976 h 20681"/>
              <a:gd name="connsiteX12" fmla="*/ 5070 w 19925"/>
              <a:gd name="connsiteY12" fmla="*/ 15976 h 20681"/>
              <a:gd name="connsiteX13" fmla="*/ 5070 w 19925"/>
              <a:gd name="connsiteY13" fmla="*/ 7085 h 20681"/>
              <a:gd name="connsiteX14" fmla="*/ 9838 w 19925"/>
              <a:gd name="connsiteY14" fmla="*/ 5244 h 2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25" h="20681">
                <a:moveTo>
                  <a:pt x="11880" y="0"/>
                </a:moveTo>
                <a:cubicBezTo>
                  <a:pt x="10803" y="87"/>
                  <a:pt x="9750" y="505"/>
                  <a:pt x="8926" y="1250"/>
                </a:cubicBezTo>
                <a:cubicBezTo>
                  <a:pt x="8506" y="1629"/>
                  <a:pt x="8190" y="2063"/>
                  <a:pt x="7960" y="2524"/>
                </a:cubicBezTo>
                <a:cubicBezTo>
                  <a:pt x="6100" y="2860"/>
                  <a:pt x="4498" y="3918"/>
                  <a:pt x="2881" y="5043"/>
                </a:cubicBezTo>
                <a:cubicBezTo>
                  <a:pt x="-961" y="7716"/>
                  <a:pt x="-961" y="14435"/>
                  <a:pt x="2881" y="18017"/>
                </a:cubicBezTo>
                <a:cubicBezTo>
                  <a:pt x="6723" y="21600"/>
                  <a:pt x="12304" y="21538"/>
                  <a:pt x="16796" y="18017"/>
                </a:cubicBezTo>
                <a:cubicBezTo>
                  <a:pt x="21288" y="14496"/>
                  <a:pt x="20638" y="8625"/>
                  <a:pt x="16796" y="5043"/>
                </a:cubicBezTo>
                <a:cubicBezTo>
                  <a:pt x="15021" y="3388"/>
                  <a:pt x="12736" y="2509"/>
                  <a:pt x="10412" y="2383"/>
                </a:cubicBezTo>
                <a:cubicBezTo>
                  <a:pt x="10678" y="1519"/>
                  <a:pt x="11159" y="697"/>
                  <a:pt x="11880" y="0"/>
                </a:cubicBezTo>
                <a:close/>
                <a:moveTo>
                  <a:pt x="9838" y="5244"/>
                </a:moveTo>
                <a:cubicBezTo>
                  <a:pt x="11564" y="5244"/>
                  <a:pt x="13290" y="5857"/>
                  <a:pt x="14607" y="7085"/>
                </a:cubicBezTo>
                <a:cubicBezTo>
                  <a:pt x="17240" y="9540"/>
                  <a:pt x="17240" y="13521"/>
                  <a:pt x="14607" y="15976"/>
                </a:cubicBezTo>
                <a:cubicBezTo>
                  <a:pt x="11974" y="18431"/>
                  <a:pt x="7703" y="18431"/>
                  <a:pt x="5070" y="15976"/>
                </a:cubicBezTo>
                <a:cubicBezTo>
                  <a:pt x="2437" y="13521"/>
                  <a:pt x="2437" y="9540"/>
                  <a:pt x="5070" y="7085"/>
                </a:cubicBezTo>
                <a:cubicBezTo>
                  <a:pt x="6387" y="5857"/>
                  <a:pt x="8113" y="5244"/>
                  <a:pt x="9838" y="5244"/>
                </a:cubicBezTo>
                <a:close/>
              </a:path>
            </a:pathLst>
          </a:custGeom>
          <a:solidFill>
            <a:srgbClr val="ED8B0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B7EDE6"/>
              </a:solidFill>
              <a:latin typeface="Crank 8 Plus Two" panose="02000506030000020004" pitchFamily="50" charset="0"/>
              <a:cs typeface="Roboto" panose="02000000000000000000" pitchFamily="2" charset="0"/>
              <a:sym typeface="Helvetica Light" charset="0"/>
            </a:endParaRPr>
          </a:p>
        </p:txBody>
      </p:sp>
      <p:sp>
        <p:nvSpPr>
          <p:cNvPr id="5" name="AutoShape 5">
            <a:extLst>
              <a:ext uri="{FF2B5EF4-FFF2-40B4-BE49-F238E27FC236}">
                <a16:creationId xmlns:a16="http://schemas.microsoft.com/office/drawing/2014/main" id="{EEF7807B-B5B1-7E45-BC6F-2B7E4BAE2D4E}"/>
              </a:ext>
            </a:extLst>
          </p:cNvPr>
          <p:cNvSpPr>
            <a:spLocks/>
          </p:cNvSpPr>
          <p:nvPr userDrawn="1"/>
        </p:nvSpPr>
        <p:spPr bwMode="auto">
          <a:xfrm>
            <a:off x="4610857" y="3501245"/>
            <a:ext cx="1487792" cy="1632831"/>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742 w 19581"/>
              <a:gd name="connsiteY0" fmla="*/ 0 h 21600"/>
              <a:gd name="connsiteX1" fmla="*/ 2785 w 19581"/>
              <a:gd name="connsiteY1" fmla="*/ 2835 h 21600"/>
              <a:gd name="connsiteX2" fmla="*/ 2785 w 19581"/>
              <a:gd name="connsiteY2" fmla="*/ 16530 h 21600"/>
              <a:gd name="connsiteX3" fmla="*/ 9138 w 19581"/>
              <a:gd name="connsiteY3" fmla="*/ 19338 h 21600"/>
              <a:gd name="connsiteX4" fmla="*/ 7741 w 19581"/>
              <a:gd name="connsiteY4" fmla="*/ 21600 h 21600"/>
              <a:gd name="connsiteX5" fmla="*/ 10695 w 19581"/>
              <a:gd name="connsiteY5" fmla="*/ 20282 h 21600"/>
              <a:gd name="connsiteX6" fmla="*/ 11519 w 19581"/>
              <a:gd name="connsiteY6" fmla="*/ 19205 h 21600"/>
              <a:gd name="connsiteX7" fmla="*/ 16700 w 19581"/>
              <a:gd name="connsiteY7" fmla="*/ 16530 h 21600"/>
              <a:gd name="connsiteX8" fmla="*/ 16700 w 19581"/>
              <a:gd name="connsiteY8" fmla="*/ 2835 h 21600"/>
              <a:gd name="connsiteX9" fmla="*/ 9742 w 19581"/>
              <a:gd name="connsiteY9" fmla="*/ 0 h 21600"/>
              <a:gd name="connsiteX10" fmla="*/ 9742 w 19581"/>
              <a:gd name="connsiteY10" fmla="*/ 3047 h 21600"/>
              <a:gd name="connsiteX11" fmla="*/ 14511 w 19581"/>
              <a:gd name="connsiteY11" fmla="*/ 4990 h 21600"/>
              <a:gd name="connsiteX12" fmla="*/ 14511 w 19581"/>
              <a:gd name="connsiteY12" fmla="*/ 14375 h 21600"/>
              <a:gd name="connsiteX13" fmla="*/ 4974 w 19581"/>
              <a:gd name="connsiteY13" fmla="*/ 14375 h 21600"/>
              <a:gd name="connsiteX14" fmla="*/ 4974 w 19581"/>
              <a:gd name="connsiteY14" fmla="*/ 4990 h 21600"/>
              <a:gd name="connsiteX15" fmla="*/ 9742 w 19581"/>
              <a:gd name="connsiteY15" fmla="*/ 3047 h 21600"/>
              <a:gd name="connsiteX0" fmla="*/ 9742 w 19754"/>
              <a:gd name="connsiteY0" fmla="*/ 0 h 21600"/>
              <a:gd name="connsiteX1" fmla="*/ 2785 w 19754"/>
              <a:gd name="connsiteY1" fmla="*/ 2835 h 21600"/>
              <a:gd name="connsiteX2" fmla="*/ 2785 w 19754"/>
              <a:gd name="connsiteY2" fmla="*/ 16530 h 21600"/>
              <a:gd name="connsiteX3" fmla="*/ 9138 w 19754"/>
              <a:gd name="connsiteY3" fmla="*/ 19338 h 21600"/>
              <a:gd name="connsiteX4" fmla="*/ 7741 w 19754"/>
              <a:gd name="connsiteY4" fmla="*/ 21600 h 21600"/>
              <a:gd name="connsiteX5" fmla="*/ 10695 w 19754"/>
              <a:gd name="connsiteY5" fmla="*/ 20282 h 21600"/>
              <a:gd name="connsiteX6" fmla="*/ 11519 w 19754"/>
              <a:gd name="connsiteY6" fmla="*/ 19205 h 21600"/>
              <a:gd name="connsiteX7" fmla="*/ 16700 w 19754"/>
              <a:gd name="connsiteY7" fmla="*/ 16530 h 21600"/>
              <a:gd name="connsiteX8" fmla="*/ 16700 w 19754"/>
              <a:gd name="connsiteY8" fmla="*/ 2835 h 21600"/>
              <a:gd name="connsiteX9" fmla="*/ 9742 w 19754"/>
              <a:gd name="connsiteY9" fmla="*/ 0 h 21600"/>
              <a:gd name="connsiteX10" fmla="*/ 9742 w 19754"/>
              <a:gd name="connsiteY10" fmla="*/ 3047 h 21600"/>
              <a:gd name="connsiteX11" fmla="*/ 14511 w 19754"/>
              <a:gd name="connsiteY11" fmla="*/ 4990 h 21600"/>
              <a:gd name="connsiteX12" fmla="*/ 14511 w 19754"/>
              <a:gd name="connsiteY12" fmla="*/ 14375 h 21600"/>
              <a:gd name="connsiteX13" fmla="*/ 4974 w 19754"/>
              <a:gd name="connsiteY13" fmla="*/ 14375 h 21600"/>
              <a:gd name="connsiteX14" fmla="*/ 4974 w 19754"/>
              <a:gd name="connsiteY14" fmla="*/ 4990 h 21600"/>
              <a:gd name="connsiteX15" fmla="*/ 9742 w 19754"/>
              <a:gd name="connsiteY15" fmla="*/ 3047 h 21600"/>
              <a:gd name="connsiteX0" fmla="*/ 9975 w 19987"/>
              <a:gd name="connsiteY0" fmla="*/ 0 h 21600"/>
              <a:gd name="connsiteX1" fmla="*/ 3018 w 19987"/>
              <a:gd name="connsiteY1" fmla="*/ 2835 h 21600"/>
              <a:gd name="connsiteX2" fmla="*/ 3018 w 19987"/>
              <a:gd name="connsiteY2" fmla="*/ 16530 h 21600"/>
              <a:gd name="connsiteX3" fmla="*/ 9371 w 19987"/>
              <a:gd name="connsiteY3" fmla="*/ 19338 h 21600"/>
              <a:gd name="connsiteX4" fmla="*/ 7974 w 19987"/>
              <a:gd name="connsiteY4" fmla="*/ 21600 h 21600"/>
              <a:gd name="connsiteX5" fmla="*/ 10928 w 19987"/>
              <a:gd name="connsiteY5" fmla="*/ 20282 h 21600"/>
              <a:gd name="connsiteX6" fmla="*/ 11752 w 19987"/>
              <a:gd name="connsiteY6" fmla="*/ 19205 h 21600"/>
              <a:gd name="connsiteX7" fmla="*/ 16933 w 19987"/>
              <a:gd name="connsiteY7" fmla="*/ 16530 h 21600"/>
              <a:gd name="connsiteX8" fmla="*/ 16933 w 19987"/>
              <a:gd name="connsiteY8" fmla="*/ 2835 h 21600"/>
              <a:gd name="connsiteX9" fmla="*/ 9975 w 19987"/>
              <a:gd name="connsiteY9" fmla="*/ 0 h 21600"/>
              <a:gd name="connsiteX10" fmla="*/ 9975 w 19987"/>
              <a:gd name="connsiteY10" fmla="*/ 3047 h 21600"/>
              <a:gd name="connsiteX11" fmla="*/ 14744 w 19987"/>
              <a:gd name="connsiteY11" fmla="*/ 4990 h 21600"/>
              <a:gd name="connsiteX12" fmla="*/ 14744 w 19987"/>
              <a:gd name="connsiteY12" fmla="*/ 14375 h 21600"/>
              <a:gd name="connsiteX13" fmla="*/ 5207 w 19987"/>
              <a:gd name="connsiteY13" fmla="*/ 14375 h 21600"/>
              <a:gd name="connsiteX14" fmla="*/ 5207 w 19987"/>
              <a:gd name="connsiteY14" fmla="*/ 4990 h 21600"/>
              <a:gd name="connsiteX15" fmla="*/ 9975 w 19987"/>
              <a:gd name="connsiteY15" fmla="*/ 3047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987" h="21600">
                <a:moveTo>
                  <a:pt x="9975" y="0"/>
                </a:moveTo>
                <a:cubicBezTo>
                  <a:pt x="7458" y="0"/>
                  <a:pt x="4733" y="756"/>
                  <a:pt x="3018" y="2835"/>
                </a:cubicBezTo>
                <a:cubicBezTo>
                  <a:pt x="-1186" y="7931"/>
                  <a:pt x="-824" y="12749"/>
                  <a:pt x="3018" y="16530"/>
                </a:cubicBezTo>
                <a:cubicBezTo>
                  <a:pt x="4785" y="18270"/>
                  <a:pt x="7058" y="19199"/>
                  <a:pt x="9371" y="19338"/>
                </a:cubicBezTo>
                <a:cubicBezTo>
                  <a:pt x="9092" y="20157"/>
                  <a:pt x="8628" y="20932"/>
                  <a:pt x="7974" y="21600"/>
                </a:cubicBezTo>
                <a:cubicBezTo>
                  <a:pt x="9051" y="21508"/>
                  <a:pt x="10104" y="21069"/>
                  <a:pt x="10928" y="20282"/>
                </a:cubicBezTo>
                <a:cubicBezTo>
                  <a:pt x="11269" y="19957"/>
                  <a:pt x="11537" y="19590"/>
                  <a:pt x="11752" y="19205"/>
                </a:cubicBezTo>
                <a:cubicBezTo>
                  <a:pt x="13649" y="18863"/>
                  <a:pt x="15376" y="17877"/>
                  <a:pt x="16933" y="16530"/>
                </a:cubicBezTo>
                <a:cubicBezTo>
                  <a:pt x="21230" y="12813"/>
                  <a:pt x="20775" y="6616"/>
                  <a:pt x="16933" y="2835"/>
                </a:cubicBezTo>
                <a:cubicBezTo>
                  <a:pt x="15012" y="944"/>
                  <a:pt x="12493" y="0"/>
                  <a:pt x="9975" y="0"/>
                </a:cubicBezTo>
                <a:close/>
                <a:moveTo>
                  <a:pt x="9975" y="3047"/>
                </a:moveTo>
                <a:cubicBezTo>
                  <a:pt x="11701" y="3047"/>
                  <a:pt x="13427" y="3694"/>
                  <a:pt x="14744" y="4990"/>
                </a:cubicBezTo>
                <a:cubicBezTo>
                  <a:pt x="17377" y="7581"/>
                  <a:pt x="17377" y="11784"/>
                  <a:pt x="14744" y="14375"/>
                </a:cubicBezTo>
                <a:cubicBezTo>
                  <a:pt x="12110" y="16967"/>
                  <a:pt x="7840" y="16967"/>
                  <a:pt x="5207" y="14375"/>
                </a:cubicBezTo>
                <a:cubicBezTo>
                  <a:pt x="2574" y="11784"/>
                  <a:pt x="2574" y="7581"/>
                  <a:pt x="5207" y="4990"/>
                </a:cubicBezTo>
                <a:cubicBezTo>
                  <a:pt x="6524" y="3694"/>
                  <a:pt x="8250" y="3047"/>
                  <a:pt x="9975" y="3047"/>
                </a:cubicBezTo>
                <a:close/>
              </a:path>
            </a:pathLst>
          </a:custGeom>
          <a:solidFill>
            <a:schemeClr val="accent3"/>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F6DC68"/>
              </a:solidFill>
              <a:latin typeface="Crank 8 Plus Two" panose="02000506030000020004" pitchFamily="50" charset="0"/>
              <a:cs typeface="Roboto" panose="02000000000000000000" pitchFamily="2" charset="0"/>
              <a:sym typeface="Helvetica Light" charset="0"/>
            </a:endParaRPr>
          </a:p>
        </p:txBody>
      </p:sp>
      <p:sp>
        <p:nvSpPr>
          <p:cNvPr id="6" name="AutoShape 6">
            <a:extLst>
              <a:ext uri="{FF2B5EF4-FFF2-40B4-BE49-F238E27FC236}">
                <a16:creationId xmlns:a16="http://schemas.microsoft.com/office/drawing/2014/main" id="{01EE347B-89D7-BD49-A0EF-D5FBECC9D2D9}"/>
              </a:ext>
            </a:extLst>
          </p:cNvPr>
          <p:cNvSpPr>
            <a:spLocks/>
          </p:cNvSpPr>
          <p:nvPr userDrawn="1"/>
        </p:nvSpPr>
        <p:spPr bwMode="auto">
          <a:xfrm>
            <a:off x="6068404" y="2580656"/>
            <a:ext cx="1481317" cy="1667713"/>
          </a:xfrm>
          <a:custGeom>
            <a:avLst/>
            <a:gdLst>
              <a:gd name="T0" fmla="+- 0 10800 961"/>
              <a:gd name="T1" fmla="*/ T0 w 19679"/>
              <a:gd name="T2" fmla="*/ 10352 h 20704"/>
              <a:gd name="T3" fmla="+- 0 10800 961"/>
              <a:gd name="T4" fmla="*/ T3 w 19679"/>
              <a:gd name="T5" fmla="*/ 10352 h 20704"/>
              <a:gd name="T6" fmla="+- 0 10800 961"/>
              <a:gd name="T7" fmla="*/ T6 w 19679"/>
              <a:gd name="T8" fmla="*/ 10352 h 20704"/>
              <a:gd name="T9" fmla="+- 0 10800 961"/>
              <a:gd name="T10" fmla="*/ T9 w 19679"/>
              <a:gd name="T11" fmla="*/ 10352 h 20704"/>
              <a:gd name="connsiteX0" fmla="*/ 12186 w 19900"/>
              <a:gd name="connsiteY0" fmla="*/ 0 h 20888"/>
              <a:gd name="connsiteX1" fmla="*/ 9235 w 19900"/>
              <a:gd name="connsiteY1" fmla="*/ 1250 h 20888"/>
              <a:gd name="connsiteX2" fmla="*/ 8273 w 19900"/>
              <a:gd name="connsiteY2" fmla="*/ 2513 h 20888"/>
              <a:gd name="connsiteX3" fmla="*/ 3104 w 19900"/>
              <a:gd name="connsiteY3" fmla="*/ 5043 h 20888"/>
              <a:gd name="connsiteX4" fmla="*/ 3104 w 19900"/>
              <a:gd name="connsiteY4" fmla="*/ 18017 h 20888"/>
              <a:gd name="connsiteX5" fmla="*/ 17019 w 19900"/>
              <a:gd name="connsiteY5" fmla="*/ 18017 h 20888"/>
              <a:gd name="connsiteX6" fmla="*/ 17019 w 19900"/>
              <a:gd name="connsiteY6" fmla="*/ 5043 h 20888"/>
              <a:gd name="connsiteX7" fmla="*/ 10718 w 19900"/>
              <a:gd name="connsiteY7" fmla="*/ 2386 h 20888"/>
              <a:gd name="connsiteX8" fmla="*/ 12186 w 19900"/>
              <a:gd name="connsiteY8" fmla="*/ 0 h 20888"/>
              <a:gd name="connsiteX9" fmla="*/ 10061 w 19900"/>
              <a:gd name="connsiteY9" fmla="*/ 5244 h 20888"/>
              <a:gd name="connsiteX10" fmla="*/ 14830 w 19900"/>
              <a:gd name="connsiteY10" fmla="*/ 7085 h 20888"/>
              <a:gd name="connsiteX11" fmla="*/ 14830 w 19900"/>
              <a:gd name="connsiteY11" fmla="*/ 15976 h 20888"/>
              <a:gd name="connsiteX12" fmla="*/ 5293 w 19900"/>
              <a:gd name="connsiteY12" fmla="*/ 15976 h 20888"/>
              <a:gd name="connsiteX13" fmla="*/ 5293 w 19900"/>
              <a:gd name="connsiteY13" fmla="*/ 7085 h 20888"/>
              <a:gd name="connsiteX14" fmla="*/ 10061 w 19900"/>
              <a:gd name="connsiteY14" fmla="*/ 5244 h 20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00" h="20888">
                <a:moveTo>
                  <a:pt x="12186" y="0"/>
                </a:moveTo>
                <a:cubicBezTo>
                  <a:pt x="11109" y="87"/>
                  <a:pt x="10060" y="505"/>
                  <a:pt x="9235" y="1250"/>
                </a:cubicBezTo>
                <a:cubicBezTo>
                  <a:pt x="8819" y="1626"/>
                  <a:pt x="8502" y="2055"/>
                  <a:pt x="8273" y="2513"/>
                </a:cubicBezTo>
                <a:cubicBezTo>
                  <a:pt x="6380" y="2837"/>
                  <a:pt x="4567" y="3678"/>
                  <a:pt x="3104" y="5043"/>
                </a:cubicBezTo>
                <a:cubicBezTo>
                  <a:pt x="-738" y="8625"/>
                  <a:pt x="-1323" y="13950"/>
                  <a:pt x="3104" y="18017"/>
                </a:cubicBezTo>
                <a:cubicBezTo>
                  <a:pt x="7531" y="22084"/>
                  <a:pt x="13177" y="21599"/>
                  <a:pt x="17019" y="18017"/>
                </a:cubicBezTo>
                <a:cubicBezTo>
                  <a:pt x="20861" y="14435"/>
                  <a:pt x="20861" y="8625"/>
                  <a:pt x="17019" y="5043"/>
                </a:cubicBezTo>
                <a:cubicBezTo>
                  <a:pt x="15265" y="3408"/>
                  <a:pt x="13013" y="2528"/>
                  <a:pt x="10718" y="2386"/>
                </a:cubicBezTo>
                <a:cubicBezTo>
                  <a:pt x="10984" y="1521"/>
                  <a:pt x="11464" y="697"/>
                  <a:pt x="12186" y="0"/>
                </a:cubicBezTo>
                <a:close/>
                <a:moveTo>
                  <a:pt x="10061" y="5244"/>
                </a:moveTo>
                <a:cubicBezTo>
                  <a:pt x="11787" y="5244"/>
                  <a:pt x="13513" y="5857"/>
                  <a:pt x="14830" y="7085"/>
                </a:cubicBezTo>
                <a:cubicBezTo>
                  <a:pt x="17463" y="9540"/>
                  <a:pt x="17463" y="13521"/>
                  <a:pt x="14830" y="15976"/>
                </a:cubicBezTo>
                <a:cubicBezTo>
                  <a:pt x="12197" y="18431"/>
                  <a:pt x="7926" y="18431"/>
                  <a:pt x="5293" y="15976"/>
                </a:cubicBezTo>
                <a:cubicBezTo>
                  <a:pt x="2660" y="13521"/>
                  <a:pt x="2660" y="9540"/>
                  <a:pt x="5293" y="7085"/>
                </a:cubicBezTo>
                <a:cubicBezTo>
                  <a:pt x="6610" y="5857"/>
                  <a:pt x="8336" y="5244"/>
                  <a:pt x="10061" y="5244"/>
                </a:cubicBezTo>
                <a:close/>
              </a:path>
            </a:pathLst>
          </a:custGeom>
          <a:solidFill>
            <a:schemeClr val="tx2"/>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74C606"/>
              </a:solidFill>
              <a:latin typeface="Crank 8 Plus Two" panose="02000506030000020004" pitchFamily="50" charset="0"/>
              <a:cs typeface="Roboto" panose="02000000000000000000" pitchFamily="2" charset="0"/>
              <a:sym typeface="Helvetica Light" charset="0"/>
            </a:endParaRPr>
          </a:p>
        </p:txBody>
      </p:sp>
      <p:sp>
        <p:nvSpPr>
          <p:cNvPr id="7" name="AutoShape 7">
            <a:extLst>
              <a:ext uri="{FF2B5EF4-FFF2-40B4-BE49-F238E27FC236}">
                <a16:creationId xmlns:a16="http://schemas.microsoft.com/office/drawing/2014/main" id="{23858722-10B6-0A41-8770-9DB48A516712}"/>
              </a:ext>
            </a:extLst>
          </p:cNvPr>
          <p:cNvSpPr>
            <a:spLocks/>
          </p:cNvSpPr>
          <p:nvPr userDrawn="1"/>
        </p:nvSpPr>
        <p:spPr bwMode="auto">
          <a:xfrm>
            <a:off x="7538861" y="3501245"/>
            <a:ext cx="1464096" cy="1632831"/>
          </a:xfrm>
          <a:custGeom>
            <a:avLst/>
            <a:gdLst>
              <a:gd name="T0" fmla="+- 0 10800 961"/>
              <a:gd name="T1" fmla="*/ T0 w 19679"/>
              <a:gd name="T2" fmla="*/ 10800 h 21600"/>
              <a:gd name="T3" fmla="+- 0 10800 961"/>
              <a:gd name="T4" fmla="*/ T3 w 19679"/>
              <a:gd name="T5" fmla="*/ 10800 h 21600"/>
              <a:gd name="T6" fmla="+- 0 10800 961"/>
              <a:gd name="T7" fmla="*/ T6 w 19679"/>
              <a:gd name="T8" fmla="*/ 10800 h 21600"/>
              <a:gd name="T9" fmla="+- 0 10800 961"/>
              <a:gd name="T10" fmla="*/ T9 w 19679"/>
              <a:gd name="T11" fmla="*/ 10800 h 21600"/>
              <a:gd name="connsiteX0" fmla="*/ 9986 w 19825"/>
              <a:gd name="connsiteY0" fmla="*/ 0 h 21600"/>
              <a:gd name="connsiteX1" fmla="*/ 3029 w 19825"/>
              <a:gd name="connsiteY1" fmla="*/ 2835 h 21600"/>
              <a:gd name="connsiteX2" fmla="*/ 3029 w 19825"/>
              <a:gd name="connsiteY2" fmla="*/ 16530 h 21600"/>
              <a:gd name="connsiteX3" fmla="*/ 9262 w 19825"/>
              <a:gd name="connsiteY3" fmla="*/ 19332 h 21600"/>
              <a:gd name="connsiteX4" fmla="*/ 7862 w 19825"/>
              <a:gd name="connsiteY4" fmla="*/ 21600 h 21600"/>
              <a:gd name="connsiteX5" fmla="*/ 10816 w 19825"/>
              <a:gd name="connsiteY5" fmla="*/ 20282 h 21600"/>
              <a:gd name="connsiteX6" fmla="*/ 11630 w 19825"/>
              <a:gd name="connsiteY6" fmla="*/ 19223 h 21600"/>
              <a:gd name="connsiteX7" fmla="*/ 16944 w 19825"/>
              <a:gd name="connsiteY7" fmla="*/ 16530 h 21600"/>
              <a:gd name="connsiteX8" fmla="*/ 16944 w 19825"/>
              <a:gd name="connsiteY8" fmla="*/ 2835 h 21600"/>
              <a:gd name="connsiteX9" fmla="*/ 9986 w 19825"/>
              <a:gd name="connsiteY9" fmla="*/ 0 h 21600"/>
              <a:gd name="connsiteX10" fmla="*/ 9986 w 19825"/>
              <a:gd name="connsiteY10" fmla="*/ 3047 h 21600"/>
              <a:gd name="connsiteX11" fmla="*/ 14755 w 19825"/>
              <a:gd name="connsiteY11" fmla="*/ 4990 h 21600"/>
              <a:gd name="connsiteX12" fmla="*/ 14755 w 19825"/>
              <a:gd name="connsiteY12" fmla="*/ 14375 h 21600"/>
              <a:gd name="connsiteX13" fmla="*/ 5218 w 19825"/>
              <a:gd name="connsiteY13" fmla="*/ 14375 h 21600"/>
              <a:gd name="connsiteX14" fmla="*/ 5218 w 19825"/>
              <a:gd name="connsiteY14" fmla="*/ 4990 h 21600"/>
              <a:gd name="connsiteX15" fmla="*/ 9986 w 19825"/>
              <a:gd name="connsiteY15" fmla="*/ 3047 h 21600"/>
              <a:gd name="connsiteX0" fmla="*/ 9986 w 19681"/>
              <a:gd name="connsiteY0" fmla="*/ 0 h 21600"/>
              <a:gd name="connsiteX1" fmla="*/ 3029 w 19681"/>
              <a:gd name="connsiteY1" fmla="*/ 2835 h 21600"/>
              <a:gd name="connsiteX2" fmla="*/ 3029 w 19681"/>
              <a:gd name="connsiteY2" fmla="*/ 16530 h 21600"/>
              <a:gd name="connsiteX3" fmla="*/ 9262 w 19681"/>
              <a:gd name="connsiteY3" fmla="*/ 19332 h 21600"/>
              <a:gd name="connsiteX4" fmla="*/ 7862 w 19681"/>
              <a:gd name="connsiteY4" fmla="*/ 21600 h 21600"/>
              <a:gd name="connsiteX5" fmla="*/ 10816 w 19681"/>
              <a:gd name="connsiteY5" fmla="*/ 20282 h 21600"/>
              <a:gd name="connsiteX6" fmla="*/ 11630 w 19681"/>
              <a:gd name="connsiteY6" fmla="*/ 19223 h 21600"/>
              <a:gd name="connsiteX7" fmla="*/ 16944 w 19681"/>
              <a:gd name="connsiteY7" fmla="*/ 16530 h 21600"/>
              <a:gd name="connsiteX8" fmla="*/ 16944 w 19681"/>
              <a:gd name="connsiteY8" fmla="*/ 2835 h 21600"/>
              <a:gd name="connsiteX9" fmla="*/ 9986 w 19681"/>
              <a:gd name="connsiteY9" fmla="*/ 0 h 21600"/>
              <a:gd name="connsiteX10" fmla="*/ 9986 w 19681"/>
              <a:gd name="connsiteY10" fmla="*/ 3047 h 21600"/>
              <a:gd name="connsiteX11" fmla="*/ 14755 w 19681"/>
              <a:gd name="connsiteY11" fmla="*/ 4990 h 21600"/>
              <a:gd name="connsiteX12" fmla="*/ 14755 w 19681"/>
              <a:gd name="connsiteY12" fmla="*/ 14375 h 21600"/>
              <a:gd name="connsiteX13" fmla="*/ 5218 w 19681"/>
              <a:gd name="connsiteY13" fmla="*/ 14375 h 21600"/>
              <a:gd name="connsiteX14" fmla="*/ 5218 w 19681"/>
              <a:gd name="connsiteY14" fmla="*/ 4990 h 21600"/>
              <a:gd name="connsiteX15" fmla="*/ 9986 w 19681"/>
              <a:gd name="connsiteY15" fmla="*/ 3047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81" h="21600">
                <a:moveTo>
                  <a:pt x="9986" y="0"/>
                </a:moveTo>
                <a:cubicBezTo>
                  <a:pt x="7469" y="0"/>
                  <a:pt x="4851" y="849"/>
                  <a:pt x="3029" y="2835"/>
                </a:cubicBezTo>
                <a:cubicBezTo>
                  <a:pt x="-1203" y="7448"/>
                  <a:pt x="-813" y="12749"/>
                  <a:pt x="3029" y="16530"/>
                </a:cubicBezTo>
                <a:cubicBezTo>
                  <a:pt x="4765" y="18240"/>
                  <a:pt x="6990" y="19168"/>
                  <a:pt x="9262" y="19332"/>
                </a:cubicBezTo>
                <a:cubicBezTo>
                  <a:pt x="8983" y="20154"/>
                  <a:pt x="8517" y="20930"/>
                  <a:pt x="7862" y="21600"/>
                </a:cubicBezTo>
                <a:cubicBezTo>
                  <a:pt x="8939" y="21508"/>
                  <a:pt x="9992" y="21069"/>
                  <a:pt x="10816" y="20282"/>
                </a:cubicBezTo>
                <a:cubicBezTo>
                  <a:pt x="11151" y="19962"/>
                  <a:pt x="11417" y="19602"/>
                  <a:pt x="11630" y="19223"/>
                </a:cubicBezTo>
                <a:cubicBezTo>
                  <a:pt x="13576" y="18900"/>
                  <a:pt x="15443" y="18008"/>
                  <a:pt x="16944" y="16530"/>
                </a:cubicBezTo>
                <a:cubicBezTo>
                  <a:pt x="20786" y="12749"/>
                  <a:pt x="20396" y="6872"/>
                  <a:pt x="16944" y="2835"/>
                </a:cubicBezTo>
                <a:cubicBezTo>
                  <a:pt x="15192" y="786"/>
                  <a:pt x="12504" y="0"/>
                  <a:pt x="9986" y="0"/>
                </a:cubicBezTo>
                <a:close/>
                <a:moveTo>
                  <a:pt x="9986" y="3047"/>
                </a:moveTo>
                <a:cubicBezTo>
                  <a:pt x="11712" y="3047"/>
                  <a:pt x="13438" y="3694"/>
                  <a:pt x="14755" y="4990"/>
                </a:cubicBezTo>
                <a:cubicBezTo>
                  <a:pt x="17388" y="7581"/>
                  <a:pt x="17388" y="11784"/>
                  <a:pt x="14755" y="14375"/>
                </a:cubicBezTo>
                <a:cubicBezTo>
                  <a:pt x="12122" y="16967"/>
                  <a:pt x="7851" y="16967"/>
                  <a:pt x="5218" y="14375"/>
                </a:cubicBezTo>
                <a:cubicBezTo>
                  <a:pt x="2585" y="11784"/>
                  <a:pt x="2585" y="7581"/>
                  <a:pt x="5218" y="4990"/>
                </a:cubicBezTo>
                <a:cubicBezTo>
                  <a:pt x="6535" y="3694"/>
                  <a:pt x="8261" y="3047"/>
                  <a:pt x="9986" y="3047"/>
                </a:cubicBezTo>
                <a:close/>
              </a:path>
            </a:pathLst>
          </a:custGeom>
          <a:solidFill>
            <a:schemeClr val="accent5"/>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74C606"/>
              </a:solidFill>
              <a:latin typeface="Crank 8 Plus Two" panose="02000506030000020004" pitchFamily="50" charset="0"/>
              <a:cs typeface="Roboto" panose="02000000000000000000" pitchFamily="2" charset="0"/>
              <a:sym typeface="Helvetica Light" charset="0"/>
            </a:endParaRPr>
          </a:p>
        </p:txBody>
      </p:sp>
      <p:sp>
        <p:nvSpPr>
          <p:cNvPr id="8" name="AutoShape 8">
            <a:extLst>
              <a:ext uri="{FF2B5EF4-FFF2-40B4-BE49-F238E27FC236}">
                <a16:creationId xmlns:a16="http://schemas.microsoft.com/office/drawing/2014/main" id="{43C319A5-833D-B14D-8CB2-F49AA8E2672C}"/>
              </a:ext>
            </a:extLst>
          </p:cNvPr>
          <p:cNvSpPr>
            <a:spLocks/>
          </p:cNvSpPr>
          <p:nvPr userDrawn="1"/>
        </p:nvSpPr>
        <p:spPr bwMode="auto">
          <a:xfrm>
            <a:off x="8993435" y="2580656"/>
            <a:ext cx="1484183" cy="1675219"/>
          </a:xfrm>
          <a:custGeom>
            <a:avLst/>
            <a:gdLst>
              <a:gd name="T0" fmla="+- 0 10800 961"/>
              <a:gd name="T1" fmla="*/ T0 w 19679"/>
              <a:gd name="T2" fmla="*/ 10352 h 20704"/>
              <a:gd name="T3" fmla="+- 0 10800 961"/>
              <a:gd name="T4" fmla="*/ T3 w 19679"/>
              <a:gd name="T5" fmla="*/ 10352 h 20704"/>
              <a:gd name="T6" fmla="+- 0 10800 961"/>
              <a:gd name="T7" fmla="*/ T6 w 19679"/>
              <a:gd name="T8" fmla="*/ 10352 h 20704"/>
              <a:gd name="T9" fmla="+- 0 10800 961"/>
              <a:gd name="T10" fmla="*/ T9 w 19679"/>
              <a:gd name="T11" fmla="*/ 10352 h 20704"/>
              <a:gd name="connsiteX0" fmla="*/ 12154 w 19951"/>
              <a:gd name="connsiteY0" fmla="*/ 0 h 20982"/>
              <a:gd name="connsiteX1" fmla="*/ 9200 w 19951"/>
              <a:gd name="connsiteY1" fmla="*/ 1250 h 20982"/>
              <a:gd name="connsiteX2" fmla="*/ 8234 w 19951"/>
              <a:gd name="connsiteY2" fmla="*/ 2524 h 20982"/>
              <a:gd name="connsiteX3" fmla="*/ 3155 w 19951"/>
              <a:gd name="connsiteY3" fmla="*/ 5043 h 20982"/>
              <a:gd name="connsiteX4" fmla="*/ 3155 w 19951"/>
              <a:gd name="connsiteY4" fmla="*/ 18017 h 20982"/>
              <a:gd name="connsiteX5" fmla="*/ 17070 w 19951"/>
              <a:gd name="connsiteY5" fmla="*/ 18017 h 20982"/>
              <a:gd name="connsiteX6" fmla="*/ 17070 w 19951"/>
              <a:gd name="connsiteY6" fmla="*/ 5043 h 20982"/>
              <a:gd name="connsiteX7" fmla="*/ 10686 w 19951"/>
              <a:gd name="connsiteY7" fmla="*/ 2383 h 20982"/>
              <a:gd name="connsiteX8" fmla="*/ 12154 w 19951"/>
              <a:gd name="connsiteY8" fmla="*/ 0 h 20982"/>
              <a:gd name="connsiteX9" fmla="*/ 10112 w 19951"/>
              <a:gd name="connsiteY9" fmla="*/ 5244 h 20982"/>
              <a:gd name="connsiteX10" fmla="*/ 14881 w 19951"/>
              <a:gd name="connsiteY10" fmla="*/ 7085 h 20982"/>
              <a:gd name="connsiteX11" fmla="*/ 14881 w 19951"/>
              <a:gd name="connsiteY11" fmla="*/ 15976 h 20982"/>
              <a:gd name="connsiteX12" fmla="*/ 5344 w 19951"/>
              <a:gd name="connsiteY12" fmla="*/ 15976 h 20982"/>
              <a:gd name="connsiteX13" fmla="*/ 5344 w 19951"/>
              <a:gd name="connsiteY13" fmla="*/ 7085 h 20982"/>
              <a:gd name="connsiteX14" fmla="*/ 10112 w 19951"/>
              <a:gd name="connsiteY14" fmla="*/ 5244 h 2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951" h="20982">
                <a:moveTo>
                  <a:pt x="12154" y="0"/>
                </a:moveTo>
                <a:cubicBezTo>
                  <a:pt x="11077" y="87"/>
                  <a:pt x="10024" y="505"/>
                  <a:pt x="9200" y="1250"/>
                </a:cubicBezTo>
                <a:cubicBezTo>
                  <a:pt x="8780" y="1629"/>
                  <a:pt x="8464" y="2063"/>
                  <a:pt x="8234" y="2524"/>
                </a:cubicBezTo>
                <a:cubicBezTo>
                  <a:pt x="6372" y="2859"/>
                  <a:pt x="4596" y="3699"/>
                  <a:pt x="3155" y="5043"/>
                </a:cubicBezTo>
                <a:cubicBezTo>
                  <a:pt x="-687" y="8625"/>
                  <a:pt x="-1402" y="13708"/>
                  <a:pt x="3155" y="18017"/>
                </a:cubicBezTo>
                <a:cubicBezTo>
                  <a:pt x="7712" y="22326"/>
                  <a:pt x="13228" y="21599"/>
                  <a:pt x="17070" y="18017"/>
                </a:cubicBezTo>
                <a:cubicBezTo>
                  <a:pt x="20912" y="14435"/>
                  <a:pt x="20912" y="8625"/>
                  <a:pt x="17070" y="5043"/>
                </a:cubicBezTo>
                <a:cubicBezTo>
                  <a:pt x="15295" y="3388"/>
                  <a:pt x="13010" y="2509"/>
                  <a:pt x="10686" y="2383"/>
                </a:cubicBezTo>
                <a:cubicBezTo>
                  <a:pt x="10952" y="1519"/>
                  <a:pt x="11433" y="697"/>
                  <a:pt x="12154" y="0"/>
                </a:cubicBezTo>
                <a:close/>
                <a:moveTo>
                  <a:pt x="10112" y="5244"/>
                </a:moveTo>
                <a:cubicBezTo>
                  <a:pt x="11838" y="5244"/>
                  <a:pt x="13564" y="5857"/>
                  <a:pt x="14881" y="7085"/>
                </a:cubicBezTo>
                <a:cubicBezTo>
                  <a:pt x="17514" y="9540"/>
                  <a:pt x="17514" y="13521"/>
                  <a:pt x="14881" y="15976"/>
                </a:cubicBezTo>
                <a:cubicBezTo>
                  <a:pt x="12248" y="18431"/>
                  <a:pt x="7977" y="18431"/>
                  <a:pt x="5344" y="15976"/>
                </a:cubicBezTo>
                <a:cubicBezTo>
                  <a:pt x="2711" y="13521"/>
                  <a:pt x="2711" y="9540"/>
                  <a:pt x="5344" y="7085"/>
                </a:cubicBezTo>
                <a:cubicBezTo>
                  <a:pt x="6661" y="5857"/>
                  <a:pt x="8387" y="5244"/>
                  <a:pt x="10112" y="5244"/>
                </a:cubicBezTo>
                <a:close/>
              </a:path>
            </a:pathLst>
          </a:custGeom>
          <a:solidFill>
            <a:schemeClr val="accent6"/>
          </a:solidFill>
          <a:ln>
            <a:noFill/>
          </a:ln>
          <a:effectLst/>
        </p:spPr>
        <p:txBody>
          <a:bodyPr lIns="67733" tIns="67733" rIns="67733" bIns="67733" anchor="ctr"/>
          <a:lstStyle>
            <a:lvl1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1pPr>
            <a:lvl2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2pPr>
            <a:lvl3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3pPr>
            <a:lvl4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4pPr>
            <a:lvl5pP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5pPr>
            <a:lvl6pPr marL="39243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6pPr>
            <a:lvl7pPr marL="43815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7pPr>
            <a:lvl8pPr marL="48387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8pPr>
            <a:lvl9pPr marL="5295900" indent="-927100" algn="ctr" defTabSz="825500" fontAlgn="base" hangingPunct="0">
              <a:lnSpc>
                <a:spcPct val="90000"/>
              </a:lnSpc>
              <a:spcBef>
                <a:spcPct val="0"/>
              </a:spcBef>
              <a:spcAft>
                <a:spcPct val="0"/>
              </a:spcAft>
              <a:buSzPct val="75000"/>
              <a:buChar char="•"/>
              <a:defRPr sz="7600">
                <a:solidFill>
                  <a:srgbClr val="777776"/>
                </a:solidFill>
                <a:latin typeface="Open Sans" panose="020B0606030504020204" pitchFamily="34" charset="0"/>
                <a:cs typeface="Open Sans" panose="020B0606030504020204" pitchFamily="34" charset="0"/>
                <a:sym typeface="Open Sans" panose="020B0606030504020204" pitchFamily="34" charset="0"/>
              </a:defRPr>
            </a:lvl9pPr>
          </a:lstStyle>
          <a:p>
            <a:pPr marL="0" indent="0" algn="ctr">
              <a:lnSpc>
                <a:spcPct val="100000"/>
              </a:lnSpc>
              <a:buSzTx/>
              <a:buFontTx/>
              <a:buNone/>
            </a:pPr>
            <a:endParaRPr lang="id-ID" sz="2133" dirty="0">
              <a:solidFill>
                <a:srgbClr val="F6DC68"/>
              </a:solidFill>
              <a:latin typeface="Crank 8 Plus Two" panose="02000506030000020004" pitchFamily="50" charset="0"/>
              <a:cs typeface="Roboto" panose="02000000000000000000" pitchFamily="2" charset="0"/>
              <a:sym typeface="Helvetica Light" charset="0"/>
            </a:endParaRPr>
          </a:p>
        </p:txBody>
      </p:sp>
      <p:sp>
        <p:nvSpPr>
          <p:cNvPr id="30" name="TextBox 29">
            <a:extLst>
              <a:ext uri="{FF2B5EF4-FFF2-40B4-BE49-F238E27FC236}">
                <a16:creationId xmlns:a16="http://schemas.microsoft.com/office/drawing/2014/main" id="{18B3FE8E-659E-234C-BCB5-F51131F44023}"/>
              </a:ext>
            </a:extLst>
          </p:cNvPr>
          <p:cNvSpPr txBox="1"/>
          <p:nvPr userDrawn="1"/>
        </p:nvSpPr>
        <p:spPr>
          <a:xfrm>
            <a:off x="2098337" y="3931486"/>
            <a:ext cx="645459" cy="584775"/>
          </a:xfrm>
          <a:prstGeom prst="rect">
            <a:avLst/>
          </a:prstGeom>
          <a:noFill/>
        </p:spPr>
        <p:txBody>
          <a:bodyPr wrap="square" rtlCol="0" anchor="ctr">
            <a:spAutoFit/>
          </a:bodyPr>
          <a:lstStyle/>
          <a:p>
            <a:pPr lvl="0" algn="ctr"/>
            <a:r>
              <a:rPr lang="en-US" sz="3200" b="1" dirty="0">
                <a:solidFill>
                  <a:schemeClr val="accent4"/>
                </a:solidFill>
                <a:latin typeface="Crank 8 Plus Two" panose="02000506030000020004" pitchFamily="50" charset="0"/>
              </a:rPr>
              <a:t>01</a:t>
            </a:r>
          </a:p>
        </p:txBody>
      </p:sp>
      <p:sp>
        <p:nvSpPr>
          <p:cNvPr id="31" name="TextBox 30">
            <a:extLst>
              <a:ext uri="{FF2B5EF4-FFF2-40B4-BE49-F238E27FC236}">
                <a16:creationId xmlns:a16="http://schemas.microsoft.com/office/drawing/2014/main" id="{66342E81-6948-834A-B092-E24738E31EAC}"/>
              </a:ext>
            </a:extLst>
          </p:cNvPr>
          <p:cNvSpPr txBox="1"/>
          <p:nvPr userDrawn="1"/>
        </p:nvSpPr>
        <p:spPr>
          <a:xfrm>
            <a:off x="3488757" y="3184953"/>
            <a:ext cx="754432" cy="584775"/>
          </a:xfrm>
          <a:prstGeom prst="rect">
            <a:avLst/>
          </a:prstGeom>
          <a:noFill/>
        </p:spPr>
        <p:txBody>
          <a:bodyPr wrap="square" rtlCol="0" anchor="ctr">
            <a:spAutoFit/>
          </a:bodyPr>
          <a:lstStyle/>
          <a:p>
            <a:pPr lvl="0" algn="ctr"/>
            <a:r>
              <a:rPr lang="en-US" sz="3200" b="1" dirty="0">
                <a:solidFill>
                  <a:schemeClr val="accent1"/>
                </a:solidFill>
                <a:latin typeface="Crank 8 Plus Two" panose="02000506030000020004" pitchFamily="50" charset="0"/>
              </a:rPr>
              <a:t>02</a:t>
            </a:r>
          </a:p>
        </p:txBody>
      </p:sp>
      <p:sp>
        <p:nvSpPr>
          <p:cNvPr id="32" name="TextBox 31">
            <a:extLst>
              <a:ext uri="{FF2B5EF4-FFF2-40B4-BE49-F238E27FC236}">
                <a16:creationId xmlns:a16="http://schemas.microsoft.com/office/drawing/2014/main" id="{7C502076-3B5B-BB47-97B3-9A1ECBB3A149}"/>
              </a:ext>
            </a:extLst>
          </p:cNvPr>
          <p:cNvSpPr txBox="1"/>
          <p:nvPr userDrawn="1"/>
        </p:nvSpPr>
        <p:spPr>
          <a:xfrm>
            <a:off x="4971083" y="3875707"/>
            <a:ext cx="754432" cy="584775"/>
          </a:xfrm>
          <a:prstGeom prst="rect">
            <a:avLst/>
          </a:prstGeom>
          <a:noFill/>
        </p:spPr>
        <p:txBody>
          <a:bodyPr wrap="square" rtlCol="0" anchor="ctr">
            <a:spAutoFit/>
          </a:bodyPr>
          <a:lstStyle/>
          <a:p>
            <a:pPr lvl="0" algn="ctr"/>
            <a:r>
              <a:rPr lang="en-US" sz="3200" b="1" dirty="0">
                <a:solidFill>
                  <a:schemeClr val="accent3"/>
                </a:solidFill>
                <a:latin typeface="Crank 8 Plus Two" panose="02000506030000020004" pitchFamily="50" charset="0"/>
              </a:rPr>
              <a:t>03</a:t>
            </a:r>
          </a:p>
        </p:txBody>
      </p:sp>
      <p:sp>
        <p:nvSpPr>
          <p:cNvPr id="33" name="TextBox 32">
            <a:extLst>
              <a:ext uri="{FF2B5EF4-FFF2-40B4-BE49-F238E27FC236}">
                <a16:creationId xmlns:a16="http://schemas.microsoft.com/office/drawing/2014/main" id="{B232D4ED-4464-0F4F-BC18-93B6D31054E2}"/>
              </a:ext>
            </a:extLst>
          </p:cNvPr>
          <p:cNvSpPr txBox="1"/>
          <p:nvPr userDrawn="1"/>
        </p:nvSpPr>
        <p:spPr>
          <a:xfrm>
            <a:off x="6431847" y="3155909"/>
            <a:ext cx="754432" cy="584775"/>
          </a:xfrm>
          <a:prstGeom prst="rect">
            <a:avLst/>
          </a:prstGeom>
          <a:noFill/>
        </p:spPr>
        <p:txBody>
          <a:bodyPr wrap="square" rtlCol="0" anchor="ctr">
            <a:spAutoFit/>
          </a:bodyPr>
          <a:lstStyle/>
          <a:p>
            <a:pPr lvl="0" algn="ctr"/>
            <a:r>
              <a:rPr lang="en-US" sz="3200" b="1" dirty="0">
                <a:solidFill>
                  <a:schemeClr val="tx2"/>
                </a:solidFill>
                <a:latin typeface="Crank 8 Plus Two" panose="02000506030000020004" pitchFamily="50" charset="0"/>
              </a:rPr>
              <a:t>04</a:t>
            </a:r>
          </a:p>
        </p:txBody>
      </p:sp>
      <p:sp>
        <p:nvSpPr>
          <p:cNvPr id="34" name="TextBox 33">
            <a:extLst>
              <a:ext uri="{FF2B5EF4-FFF2-40B4-BE49-F238E27FC236}">
                <a16:creationId xmlns:a16="http://schemas.microsoft.com/office/drawing/2014/main" id="{5EEF7E4D-934F-2242-BCED-0850557A5ECF}"/>
              </a:ext>
            </a:extLst>
          </p:cNvPr>
          <p:cNvSpPr txBox="1"/>
          <p:nvPr userDrawn="1"/>
        </p:nvSpPr>
        <p:spPr>
          <a:xfrm>
            <a:off x="7888932" y="3915549"/>
            <a:ext cx="754432" cy="584775"/>
          </a:xfrm>
          <a:prstGeom prst="rect">
            <a:avLst/>
          </a:prstGeom>
          <a:noFill/>
        </p:spPr>
        <p:txBody>
          <a:bodyPr wrap="square" rtlCol="0" anchor="ctr">
            <a:spAutoFit/>
          </a:bodyPr>
          <a:lstStyle/>
          <a:p>
            <a:pPr lvl="0" algn="ctr"/>
            <a:r>
              <a:rPr lang="en-US" sz="3200" b="1" dirty="0">
                <a:solidFill>
                  <a:schemeClr val="accent5"/>
                </a:solidFill>
                <a:latin typeface="Crank 8 Plus Two" panose="02000506030000020004" pitchFamily="50" charset="0"/>
              </a:rPr>
              <a:t>05</a:t>
            </a:r>
          </a:p>
        </p:txBody>
      </p:sp>
      <p:sp>
        <p:nvSpPr>
          <p:cNvPr id="35" name="TextBox 34">
            <a:extLst>
              <a:ext uri="{FF2B5EF4-FFF2-40B4-BE49-F238E27FC236}">
                <a16:creationId xmlns:a16="http://schemas.microsoft.com/office/drawing/2014/main" id="{066AB31B-F4B8-5349-B669-254CA4A76517}"/>
              </a:ext>
            </a:extLst>
          </p:cNvPr>
          <p:cNvSpPr txBox="1"/>
          <p:nvPr userDrawn="1"/>
        </p:nvSpPr>
        <p:spPr>
          <a:xfrm>
            <a:off x="9353028" y="3181654"/>
            <a:ext cx="754432" cy="584775"/>
          </a:xfrm>
          <a:prstGeom prst="rect">
            <a:avLst/>
          </a:prstGeom>
          <a:noFill/>
        </p:spPr>
        <p:txBody>
          <a:bodyPr wrap="square" rtlCol="0" anchor="ctr">
            <a:spAutoFit/>
          </a:bodyPr>
          <a:lstStyle/>
          <a:p>
            <a:pPr lvl="0" algn="ctr"/>
            <a:r>
              <a:rPr lang="en-US" sz="3200" b="1" dirty="0">
                <a:solidFill>
                  <a:schemeClr val="accent6"/>
                </a:solidFill>
                <a:latin typeface="Crank 8 Plus Two" panose="02000506030000020004" pitchFamily="50" charset="0"/>
              </a:rPr>
              <a:t>06</a:t>
            </a:r>
          </a:p>
        </p:txBody>
      </p:sp>
      <p:sp>
        <p:nvSpPr>
          <p:cNvPr id="36" name="Text Placeholder 21">
            <a:extLst>
              <a:ext uri="{FF2B5EF4-FFF2-40B4-BE49-F238E27FC236}">
                <a16:creationId xmlns:a16="http://schemas.microsoft.com/office/drawing/2014/main" id="{47FB67BB-AFF3-B642-A98D-2DDD723B6E48}"/>
              </a:ext>
            </a:extLst>
          </p:cNvPr>
          <p:cNvSpPr>
            <a:spLocks noGrp="1"/>
          </p:cNvSpPr>
          <p:nvPr>
            <p:ph type="body" sz="quarter" idx="13" hasCustomPrompt="1"/>
          </p:nvPr>
        </p:nvSpPr>
        <p:spPr>
          <a:xfrm>
            <a:off x="1256158" y="5334654"/>
            <a:ext cx="2201733"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37" name="Text Placeholder 21">
            <a:extLst>
              <a:ext uri="{FF2B5EF4-FFF2-40B4-BE49-F238E27FC236}">
                <a16:creationId xmlns:a16="http://schemas.microsoft.com/office/drawing/2014/main" id="{E52B8138-FA4F-EC4A-A18F-2348874B55F4}"/>
              </a:ext>
            </a:extLst>
          </p:cNvPr>
          <p:cNvSpPr>
            <a:spLocks noGrp="1"/>
          </p:cNvSpPr>
          <p:nvPr>
            <p:ph type="body" sz="quarter" idx="14" hasCustomPrompt="1"/>
          </p:nvPr>
        </p:nvSpPr>
        <p:spPr>
          <a:xfrm>
            <a:off x="2797366" y="1528943"/>
            <a:ext cx="2201733" cy="872175"/>
          </a:xfrm>
          <a:prstGeom prst="rect">
            <a:avLst/>
          </a:prstGeom>
        </p:spPr>
        <p:txBody>
          <a:bodyPr anchor="b"/>
          <a:lstStyle>
            <a:lvl1pPr marL="0" indent="0" algn="ctr">
              <a:buNone/>
              <a:defRPr sz="1867">
                <a:solidFill>
                  <a:schemeClr val="tx2"/>
                </a:solidFill>
                <a:latin typeface="+mn-lt"/>
              </a:defRPr>
            </a:lvl1pPr>
          </a:lstStyle>
          <a:p>
            <a:pPr lvl="0"/>
            <a:r>
              <a:rPr lang="en-US" dirty="0"/>
              <a:t>Click to add text</a:t>
            </a:r>
            <a:endParaRPr dirty="0"/>
          </a:p>
        </p:txBody>
      </p:sp>
      <p:sp>
        <p:nvSpPr>
          <p:cNvPr id="38" name="Text Placeholder 21">
            <a:extLst>
              <a:ext uri="{FF2B5EF4-FFF2-40B4-BE49-F238E27FC236}">
                <a16:creationId xmlns:a16="http://schemas.microsoft.com/office/drawing/2014/main" id="{5E8F9BFB-2FF5-6946-84EB-AAA2B76DBB24}"/>
              </a:ext>
            </a:extLst>
          </p:cNvPr>
          <p:cNvSpPr>
            <a:spLocks noGrp="1"/>
          </p:cNvSpPr>
          <p:nvPr>
            <p:ph type="body" sz="quarter" idx="15" hasCustomPrompt="1"/>
          </p:nvPr>
        </p:nvSpPr>
        <p:spPr>
          <a:xfrm>
            <a:off x="4265575" y="5334654"/>
            <a:ext cx="2201733"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39" name="Text Placeholder 21">
            <a:extLst>
              <a:ext uri="{FF2B5EF4-FFF2-40B4-BE49-F238E27FC236}">
                <a16:creationId xmlns:a16="http://schemas.microsoft.com/office/drawing/2014/main" id="{0C79B562-3ADD-A342-A1DD-3D8EC33B891E}"/>
              </a:ext>
            </a:extLst>
          </p:cNvPr>
          <p:cNvSpPr>
            <a:spLocks noGrp="1"/>
          </p:cNvSpPr>
          <p:nvPr>
            <p:ph type="body" sz="quarter" idx="16" hasCustomPrompt="1"/>
          </p:nvPr>
        </p:nvSpPr>
        <p:spPr>
          <a:xfrm>
            <a:off x="7274992" y="5334654"/>
            <a:ext cx="2201733" cy="872175"/>
          </a:xfrm>
          <a:prstGeom prst="rect">
            <a:avLst/>
          </a:prstGeom>
        </p:spPr>
        <p:txBody>
          <a:bodyPr anchor="t"/>
          <a:lstStyle>
            <a:lvl1pPr marL="0" indent="0" algn="ctr">
              <a:buNone/>
              <a:defRPr sz="1867">
                <a:solidFill>
                  <a:schemeClr val="tx2"/>
                </a:solidFill>
                <a:latin typeface="+mn-lt"/>
              </a:defRPr>
            </a:lvl1pPr>
          </a:lstStyle>
          <a:p>
            <a:pPr lvl="0"/>
            <a:r>
              <a:rPr lang="en-US" dirty="0"/>
              <a:t>Click to add text</a:t>
            </a:r>
            <a:endParaRPr dirty="0"/>
          </a:p>
        </p:txBody>
      </p:sp>
      <p:sp>
        <p:nvSpPr>
          <p:cNvPr id="40" name="Text Placeholder 21">
            <a:extLst>
              <a:ext uri="{FF2B5EF4-FFF2-40B4-BE49-F238E27FC236}">
                <a16:creationId xmlns:a16="http://schemas.microsoft.com/office/drawing/2014/main" id="{A22A1C2A-91CE-034B-957A-0C86B1C70D58}"/>
              </a:ext>
            </a:extLst>
          </p:cNvPr>
          <p:cNvSpPr>
            <a:spLocks noGrp="1"/>
          </p:cNvSpPr>
          <p:nvPr>
            <p:ph type="body" sz="quarter" idx="17" hasCustomPrompt="1"/>
          </p:nvPr>
        </p:nvSpPr>
        <p:spPr>
          <a:xfrm>
            <a:off x="5725515" y="1528943"/>
            <a:ext cx="2201733" cy="872175"/>
          </a:xfrm>
          <a:prstGeom prst="rect">
            <a:avLst/>
          </a:prstGeom>
        </p:spPr>
        <p:txBody>
          <a:bodyPr anchor="b"/>
          <a:lstStyle>
            <a:lvl1pPr marL="0" indent="0" algn="ctr">
              <a:buNone/>
              <a:defRPr sz="1867">
                <a:solidFill>
                  <a:schemeClr val="tx2"/>
                </a:solidFill>
                <a:latin typeface="+mn-lt"/>
              </a:defRPr>
            </a:lvl1pPr>
          </a:lstStyle>
          <a:p>
            <a:pPr lvl="0"/>
            <a:r>
              <a:rPr lang="en-US" dirty="0"/>
              <a:t>Click to add text</a:t>
            </a:r>
            <a:endParaRPr dirty="0"/>
          </a:p>
        </p:txBody>
      </p:sp>
      <p:sp>
        <p:nvSpPr>
          <p:cNvPr id="41" name="Text Placeholder 21">
            <a:extLst>
              <a:ext uri="{FF2B5EF4-FFF2-40B4-BE49-F238E27FC236}">
                <a16:creationId xmlns:a16="http://schemas.microsoft.com/office/drawing/2014/main" id="{E2E27063-8503-3140-B905-A61F02D8EFAE}"/>
              </a:ext>
            </a:extLst>
          </p:cNvPr>
          <p:cNvSpPr>
            <a:spLocks noGrp="1"/>
          </p:cNvSpPr>
          <p:nvPr>
            <p:ph type="body" sz="quarter" idx="18" hasCustomPrompt="1"/>
          </p:nvPr>
        </p:nvSpPr>
        <p:spPr>
          <a:xfrm>
            <a:off x="8653664" y="1528943"/>
            <a:ext cx="2201733" cy="872175"/>
          </a:xfrm>
          <a:prstGeom prst="rect">
            <a:avLst/>
          </a:prstGeom>
        </p:spPr>
        <p:txBody>
          <a:bodyPr anchor="b"/>
          <a:lstStyle>
            <a:lvl1pPr marL="0" indent="0" algn="ctr">
              <a:buNone/>
              <a:defRPr sz="1867">
                <a:solidFill>
                  <a:schemeClr val="tx2"/>
                </a:solidFill>
                <a:latin typeface="+mn-lt"/>
              </a:defRPr>
            </a:lvl1pPr>
          </a:lstStyle>
          <a:p>
            <a:pPr lvl="0"/>
            <a:r>
              <a:rPr lang="en-US" dirty="0"/>
              <a:t>Click to add text</a:t>
            </a:r>
            <a:endParaRPr dirty="0"/>
          </a:p>
        </p:txBody>
      </p:sp>
      <p:grpSp>
        <p:nvGrpSpPr>
          <p:cNvPr id="45" name="Graphic 6">
            <a:extLst>
              <a:ext uri="{FF2B5EF4-FFF2-40B4-BE49-F238E27FC236}">
                <a16:creationId xmlns:a16="http://schemas.microsoft.com/office/drawing/2014/main" id="{0AADAD1B-5EB6-49A6-8C81-64C380AF4447}"/>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46" name="Freeform: Shape 45">
              <a:extLst>
                <a:ext uri="{FF2B5EF4-FFF2-40B4-BE49-F238E27FC236}">
                  <a16:creationId xmlns:a16="http://schemas.microsoft.com/office/drawing/2014/main" id="{A7B7DB41-D66B-41A6-BD21-F2FD3BCEE93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47" name="Freeform: Shape 46">
              <a:extLst>
                <a:ext uri="{FF2B5EF4-FFF2-40B4-BE49-F238E27FC236}">
                  <a16:creationId xmlns:a16="http://schemas.microsoft.com/office/drawing/2014/main" id="{F8D5AD32-0541-4A7A-B48D-80ABB69F05AB}"/>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
        <p:nvSpPr>
          <p:cNvPr id="24" name="Title 10">
            <a:extLst>
              <a:ext uri="{FF2B5EF4-FFF2-40B4-BE49-F238E27FC236}">
                <a16:creationId xmlns:a16="http://schemas.microsoft.com/office/drawing/2014/main" id="{003C47AB-0D32-4AB0-85F4-4634B4FDF9E3}"/>
              </a:ext>
            </a:extLst>
          </p:cNvPr>
          <p:cNvSpPr>
            <a:spLocks noGrp="1"/>
          </p:cNvSpPr>
          <p:nvPr>
            <p:ph type="title" hasCustomPrompt="1"/>
          </p:nvPr>
        </p:nvSpPr>
        <p:spPr>
          <a:xfrm>
            <a:off x="524112" y="534243"/>
            <a:ext cx="9120000" cy="640175"/>
          </a:xfrm>
          <a:prstGeom prst="rect">
            <a:avLst/>
          </a:prstGeom>
        </p:spPr>
        <p:txBody>
          <a:bodyPr>
            <a:noAutofit/>
          </a:bodyPr>
          <a:lstStyle>
            <a:lvl1pPr>
              <a:defRPr sz="3733" b="1">
                <a:solidFill>
                  <a:schemeClr val="accent1"/>
                </a:solidFill>
                <a:latin typeface="Crank 8 Plus Two" panose="02000506030000020004" pitchFamily="50" charset="0"/>
                <a:ea typeface="Roboto" panose="02000000000000000000" pitchFamily="2" charset="0"/>
              </a:defRPr>
            </a:lvl1pPr>
          </a:lstStyle>
          <a:p>
            <a:r>
              <a:rPr lang="en-GB" noProof="0" dirty="0"/>
              <a:t>6 </a:t>
            </a:r>
            <a:r>
              <a:rPr lang="en-GB" noProof="0" dirty="0" err="1"/>
              <a:t>stappen</a:t>
            </a:r>
            <a:endParaRPr lang="en-GB" noProof="0" dirty="0"/>
          </a:p>
        </p:txBody>
      </p:sp>
    </p:spTree>
    <p:extLst>
      <p:ext uri="{BB962C8B-B14F-4D97-AF65-F5344CB8AC3E}">
        <p14:creationId xmlns:p14="http://schemas.microsoft.com/office/powerpoint/2010/main" val="319719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ockup">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4A389C-E013-2247-BF41-646ACBDF138A}"/>
              </a:ext>
            </a:extLst>
          </p:cNvPr>
          <p:cNvSpPr/>
          <p:nvPr userDrawn="1"/>
        </p:nvSpPr>
        <p:spPr>
          <a:xfrm>
            <a:off x="0" y="0"/>
            <a:ext cx="1069953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2400">
              <a:latin typeface="+mn-lt"/>
            </a:endParaRPr>
          </a:p>
        </p:txBody>
      </p:sp>
      <p:sp>
        <p:nvSpPr>
          <p:cNvPr id="17" name="Freeform 16">
            <a:extLst>
              <a:ext uri="{FF2B5EF4-FFF2-40B4-BE49-F238E27FC236}">
                <a16:creationId xmlns:a16="http://schemas.microsoft.com/office/drawing/2014/main" id="{C28FE133-94A4-2E49-9A8E-18A3FA67C903}"/>
              </a:ext>
            </a:extLst>
          </p:cNvPr>
          <p:cNvSpPr>
            <a:spLocks/>
          </p:cNvSpPr>
          <p:nvPr userDrawn="1"/>
        </p:nvSpPr>
        <p:spPr bwMode="auto">
          <a:xfrm>
            <a:off x="999587" y="0"/>
            <a:ext cx="11192413" cy="6858000"/>
          </a:xfrm>
          <a:custGeom>
            <a:avLst/>
            <a:gdLst>
              <a:gd name="T0" fmla="*/ 90 w 1278"/>
              <a:gd name="T1" fmla="*/ 726 h 726"/>
              <a:gd name="T2" fmla="*/ 1278 w 1278"/>
              <a:gd name="T3" fmla="*/ 726 h 726"/>
              <a:gd name="T4" fmla="*/ 1278 w 1278"/>
              <a:gd name="T5" fmla="*/ 0 h 726"/>
              <a:gd name="T6" fmla="*/ 844 w 1278"/>
              <a:gd name="T7" fmla="*/ 0 h 726"/>
              <a:gd name="T8" fmla="*/ 844 w 1278"/>
              <a:gd name="T9" fmla="*/ 0 h 726"/>
              <a:gd name="T10" fmla="*/ 844 w 1278"/>
              <a:gd name="T11" fmla="*/ 33 h 726"/>
              <a:gd name="T12" fmla="*/ 845 w 1278"/>
              <a:gd name="T13" fmla="*/ 42 h 726"/>
              <a:gd name="T14" fmla="*/ 846 w 1278"/>
              <a:gd name="T15" fmla="*/ 68 h 726"/>
              <a:gd name="T16" fmla="*/ 848 w 1278"/>
              <a:gd name="T17" fmla="*/ 93 h 726"/>
              <a:gd name="T18" fmla="*/ 851 w 1278"/>
              <a:gd name="T19" fmla="*/ 122 h 726"/>
              <a:gd name="T20" fmla="*/ 855 w 1278"/>
              <a:gd name="T21" fmla="*/ 156 h 726"/>
              <a:gd name="T22" fmla="*/ 861 w 1278"/>
              <a:gd name="T23" fmla="*/ 186 h 726"/>
              <a:gd name="T24" fmla="*/ 869 w 1278"/>
              <a:gd name="T25" fmla="*/ 231 h 726"/>
              <a:gd name="T26" fmla="*/ 876 w 1278"/>
              <a:gd name="T27" fmla="*/ 265 h 726"/>
              <a:gd name="T28" fmla="*/ 882 w 1278"/>
              <a:gd name="T29" fmla="*/ 309 h 726"/>
              <a:gd name="T30" fmla="*/ 884 w 1278"/>
              <a:gd name="T31" fmla="*/ 342 h 726"/>
              <a:gd name="T32" fmla="*/ 884 w 1278"/>
              <a:gd name="T33" fmla="*/ 354 h 726"/>
              <a:gd name="T34" fmla="*/ 882 w 1278"/>
              <a:gd name="T35" fmla="*/ 374 h 726"/>
              <a:gd name="T36" fmla="*/ 874 w 1278"/>
              <a:gd name="T37" fmla="*/ 399 h 726"/>
              <a:gd name="T38" fmla="*/ 865 w 1278"/>
              <a:gd name="T39" fmla="*/ 416 h 726"/>
              <a:gd name="T40" fmla="*/ 840 w 1278"/>
              <a:gd name="T41" fmla="*/ 440 h 726"/>
              <a:gd name="T42" fmla="*/ 808 w 1278"/>
              <a:gd name="T43" fmla="*/ 454 h 726"/>
              <a:gd name="T44" fmla="*/ 781 w 1278"/>
              <a:gd name="T45" fmla="*/ 458 h 726"/>
              <a:gd name="T46" fmla="*/ 758 w 1278"/>
              <a:gd name="T47" fmla="*/ 459 h 726"/>
              <a:gd name="T48" fmla="*/ 741 w 1278"/>
              <a:gd name="T49" fmla="*/ 458 h 726"/>
              <a:gd name="T50" fmla="*/ 722 w 1278"/>
              <a:gd name="T51" fmla="*/ 455 h 726"/>
              <a:gd name="T52" fmla="*/ 695 w 1278"/>
              <a:gd name="T53" fmla="*/ 451 h 726"/>
              <a:gd name="T54" fmla="*/ 658 w 1278"/>
              <a:gd name="T55" fmla="*/ 440 h 726"/>
              <a:gd name="T56" fmla="*/ 635 w 1278"/>
              <a:gd name="T57" fmla="*/ 431 h 726"/>
              <a:gd name="T58" fmla="*/ 610 w 1278"/>
              <a:gd name="T59" fmla="*/ 419 h 726"/>
              <a:gd name="T60" fmla="*/ 590 w 1278"/>
              <a:gd name="T61" fmla="*/ 409 h 726"/>
              <a:gd name="T62" fmla="*/ 589 w 1278"/>
              <a:gd name="T63" fmla="*/ 408 h 726"/>
              <a:gd name="T64" fmla="*/ 574 w 1278"/>
              <a:gd name="T65" fmla="*/ 399 h 726"/>
              <a:gd name="T66" fmla="*/ 559 w 1278"/>
              <a:gd name="T67" fmla="*/ 391 h 726"/>
              <a:gd name="T68" fmla="*/ 541 w 1278"/>
              <a:gd name="T69" fmla="*/ 378 h 726"/>
              <a:gd name="T70" fmla="*/ 522 w 1278"/>
              <a:gd name="T71" fmla="*/ 366 h 726"/>
              <a:gd name="T72" fmla="*/ 500 w 1278"/>
              <a:gd name="T73" fmla="*/ 352 h 726"/>
              <a:gd name="T74" fmla="*/ 484 w 1278"/>
              <a:gd name="T75" fmla="*/ 343 h 726"/>
              <a:gd name="T76" fmla="*/ 459 w 1278"/>
              <a:gd name="T77" fmla="*/ 331 h 726"/>
              <a:gd name="T78" fmla="*/ 430 w 1278"/>
              <a:gd name="T79" fmla="*/ 322 h 726"/>
              <a:gd name="T80" fmla="*/ 396 w 1278"/>
              <a:gd name="T81" fmla="*/ 315 h 726"/>
              <a:gd name="T82" fmla="*/ 365 w 1278"/>
              <a:gd name="T83" fmla="*/ 311 h 726"/>
              <a:gd name="T84" fmla="*/ 334 w 1278"/>
              <a:gd name="T85" fmla="*/ 311 h 726"/>
              <a:gd name="T86" fmla="*/ 298 w 1278"/>
              <a:gd name="T87" fmla="*/ 313 h 726"/>
              <a:gd name="T88" fmla="*/ 265 w 1278"/>
              <a:gd name="T89" fmla="*/ 316 h 726"/>
              <a:gd name="T90" fmla="*/ 222 w 1278"/>
              <a:gd name="T91" fmla="*/ 325 h 726"/>
              <a:gd name="T92" fmla="*/ 194 w 1278"/>
              <a:gd name="T93" fmla="*/ 333 h 726"/>
              <a:gd name="T94" fmla="*/ 171 w 1278"/>
              <a:gd name="T95" fmla="*/ 341 h 726"/>
              <a:gd name="T96" fmla="*/ 134 w 1278"/>
              <a:gd name="T97" fmla="*/ 359 h 726"/>
              <a:gd name="T98" fmla="*/ 99 w 1278"/>
              <a:gd name="T99" fmla="*/ 381 h 726"/>
              <a:gd name="T100" fmla="*/ 82 w 1278"/>
              <a:gd name="T101" fmla="*/ 393 h 726"/>
              <a:gd name="T102" fmla="*/ 57 w 1278"/>
              <a:gd name="T103" fmla="*/ 416 h 726"/>
              <a:gd name="T104" fmla="*/ 28 w 1278"/>
              <a:gd name="T105" fmla="*/ 449 h 726"/>
              <a:gd name="T106" fmla="*/ 22 w 1278"/>
              <a:gd name="T107" fmla="*/ 459 h 726"/>
              <a:gd name="T108" fmla="*/ 13 w 1278"/>
              <a:gd name="T109" fmla="*/ 473 h 726"/>
              <a:gd name="T110" fmla="*/ 1 w 1278"/>
              <a:gd name="T111" fmla="*/ 515 h 726"/>
              <a:gd name="T112" fmla="*/ 0 w 1278"/>
              <a:gd name="T113" fmla="*/ 535 h 726"/>
              <a:gd name="T114" fmla="*/ 7 w 1278"/>
              <a:gd name="T115" fmla="*/ 572 h 726"/>
              <a:gd name="T116" fmla="*/ 30 w 1278"/>
              <a:gd name="T117" fmla="*/ 619 h 726"/>
              <a:gd name="T118" fmla="*/ 61 w 1278"/>
              <a:gd name="T119" fmla="*/ 668 h 726"/>
              <a:gd name="T120" fmla="*/ 90 w 1278"/>
              <a:gd name="T121"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8" h="726">
                <a:moveTo>
                  <a:pt x="90" y="726"/>
                </a:moveTo>
                <a:cubicBezTo>
                  <a:pt x="1278" y="726"/>
                  <a:pt x="1278" y="726"/>
                  <a:pt x="1278" y="726"/>
                </a:cubicBezTo>
                <a:cubicBezTo>
                  <a:pt x="1278" y="0"/>
                  <a:pt x="1278" y="0"/>
                  <a:pt x="1278" y="0"/>
                </a:cubicBezTo>
                <a:cubicBezTo>
                  <a:pt x="844" y="0"/>
                  <a:pt x="844" y="0"/>
                  <a:pt x="844" y="0"/>
                </a:cubicBezTo>
                <a:cubicBezTo>
                  <a:pt x="844" y="0"/>
                  <a:pt x="844" y="0"/>
                  <a:pt x="844" y="0"/>
                </a:cubicBezTo>
                <a:cubicBezTo>
                  <a:pt x="844" y="11"/>
                  <a:pt x="844" y="22"/>
                  <a:pt x="844" y="33"/>
                </a:cubicBezTo>
                <a:cubicBezTo>
                  <a:pt x="844" y="36"/>
                  <a:pt x="844" y="39"/>
                  <a:pt x="845" y="42"/>
                </a:cubicBezTo>
                <a:cubicBezTo>
                  <a:pt x="845" y="51"/>
                  <a:pt x="846" y="59"/>
                  <a:pt x="846" y="68"/>
                </a:cubicBezTo>
                <a:cubicBezTo>
                  <a:pt x="847" y="76"/>
                  <a:pt x="847" y="84"/>
                  <a:pt x="848" y="93"/>
                </a:cubicBezTo>
                <a:cubicBezTo>
                  <a:pt x="849" y="102"/>
                  <a:pt x="850" y="112"/>
                  <a:pt x="851" y="122"/>
                </a:cubicBezTo>
                <a:cubicBezTo>
                  <a:pt x="852" y="133"/>
                  <a:pt x="854" y="144"/>
                  <a:pt x="855" y="156"/>
                </a:cubicBezTo>
                <a:cubicBezTo>
                  <a:pt x="857" y="166"/>
                  <a:pt x="859" y="176"/>
                  <a:pt x="861" y="186"/>
                </a:cubicBezTo>
                <a:cubicBezTo>
                  <a:pt x="863" y="201"/>
                  <a:pt x="866" y="216"/>
                  <a:pt x="869" y="231"/>
                </a:cubicBezTo>
                <a:cubicBezTo>
                  <a:pt x="871" y="242"/>
                  <a:pt x="874" y="253"/>
                  <a:pt x="876" y="265"/>
                </a:cubicBezTo>
                <a:cubicBezTo>
                  <a:pt x="879" y="279"/>
                  <a:pt x="880" y="294"/>
                  <a:pt x="882" y="309"/>
                </a:cubicBezTo>
                <a:cubicBezTo>
                  <a:pt x="883" y="320"/>
                  <a:pt x="884" y="331"/>
                  <a:pt x="884" y="342"/>
                </a:cubicBezTo>
                <a:cubicBezTo>
                  <a:pt x="884" y="346"/>
                  <a:pt x="884" y="350"/>
                  <a:pt x="884" y="354"/>
                </a:cubicBezTo>
                <a:cubicBezTo>
                  <a:pt x="883" y="361"/>
                  <a:pt x="883" y="368"/>
                  <a:pt x="882" y="374"/>
                </a:cubicBezTo>
                <a:cubicBezTo>
                  <a:pt x="880" y="383"/>
                  <a:pt x="877" y="391"/>
                  <a:pt x="874" y="399"/>
                </a:cubicBezTo>
                <a:cubicBezTo>
                  <a:pt x="872" y="405"/>
                  <a:pt x="869" y="411"/>
                  <a:pt x="865" y="416"/>
                </a:cubicBezTo>
                <a:cubicBezTo>
                  <a:pt x="858" y="425"/>
                  <a:pt x="850" y="433"/>
                  <a:pt x="840" y="440"/>
                </a:cubicBezTo>
                <a:cubicBezTo>
                  <a:pt x="830" y="446"/>
                  <a:pt x="820" y="451"/>
                  <a:pt x="808" y="454"/>
                </a:cubicBezTo>
                <a:cubicBezTo>
                  <a:pt x="799" y="456"/>
                  <a:pt x="790" y="457"/>
                  <a:pt x="781" y="458"/>
                </a:cubicBezTo>
                <a:cubicBezTo>
                  <a:pt x="773" y="459"/>
                  <a:pt x="766" y="459"/>
                  <a:pt x="758" y="459"/>
                </a:cubicBezTo>
                <a:cubicBezTo>
                  <a:pt x="753" y="459"/>
                  <a:pt x="747" y="459"/>
                  <a:pt x="741" y="458"/>
                </a:cubicBezTo>
                <a:cubicBezTo>
                  <a:pt x="734" y="458"/>
                  <a:pt x="728" y="456"/>
                  <a:pt x="722" y="455"/>
                </a:cubicBezTo>
                <a:cubicBezTo>
                  <a:pt x="713" y="454"/>
                  <a:pt x="703" y="453"/>
                  <a:pt x="695" y="451"/>
                </a:cubicBezTo>
                <a:cubicBezTo>
                  <a:pt x="682" y="447"/>
                  <a:pt x="670" y="443"/>
                  <a:pt x="658" y="440"/>
                </a:cubicBezTo>
                <a:cubicBezTo>
                  <a:pt x="650" y="437"/>
                  <a:pt x="643" y="434"/>
                  <a:pt x="635" y="431"/>
                </a:cubicBezTo>
                <a:cubicBezTo>
                  <a:pt x="627" y="427"/>
                  <a:pt x="618" y="423"/>
                  <a:pt x="610" y="419"/>
                </a:cubicBezTo>
                <a:cubicBezTo>
                  <a:pt x="603" y="416"/>
                  <a:pt x="597" y="412"/>
                  <a:pt x="590" y="409"/>
                </a:cubicBezTo>
                <a:cubicBezTo>
                  <a:pt x="589" y="409"/>
                  <a:pt x="589" y="409"/>
                  <a:pt x="589" y="408"/>
                </a:cubicBezTo>
                <a:cubicBezTo>
                  <a:pt x="584" y="405"/>
                  <a:pt x="579" y="402"/>
                  <a:pt x="574" y="399"/>
                </a:cubicBezTo>
                <a:cubicBezTo>
                  <a:pt x="569" y="396"/>
                  <a:pt x="564" y="394"/>
                  <a:pt x="559" y="391"/>
                </a:cubicBezTo>
                <a:cubicBezTo>
                  <a:pt x="553" y="386"/>
                  <a:pt x="547" y="382"/>
                  <a:pt x="541" y="378"/>
                </a:cubicBezTo>
                <a:cubicBezTo>
                  <a:pt x="535" y="374"/>
                  <a:pt x="528" y="370"/>
                  <a:pt x="522" y="366"/>
                </a:cubicBezTo>
                <a:cubicBezTo>
                  <a:pt x="515" y="361"/>
                  <a:pt x="508" y="356"/>
                  <a:pt x="500" y="352"/>
                </a:cubicBezTo>
                <a:cubicBezTo>
                  <a:pt x="495" y="349"/>
                  <a:pt x="489" y="346"/>
                  <a:pt x="484" y="343"/>
                </a:cubicBezTo>
                <a:cubicBezTo>
                  <a:pt x="476" y="339"/>
                  <a:pt x="467" y="335"/>
                  <a:pt x="459" y="331"/>
                </a:cubicBezTo>
                <a:cubicBezTo>
                  <a:pt x="450" y="327"/>
                  <a:pt x="440" y="324"/>
                  <a:pt x="430" y="322"/>
                </a:cubicBezTo>
                <a:cubicBezTo>
                  <a:pt x="419" y="319"/>
                  <a:pt x="407" y="317"/>
                  <a:pt x="396" y="315"/>
                </a:cubicBezTo>
                <a:cubicBezTo>
                  <a:pt x="385" y="313"/>
                  <a:pt x="375" y="312"/>
                  <a:pt x="365" y="311"/>
                </a:cubicBezTo>
                <a:cubicBezTo>
                  <a:pt x="354" y="311"/>
                  <a:pt x="344" y="311"/>
                  <a:pt x="334" y="311"/>
                </a:cubicBezTo>
                <a:cubicBezTo>
                  <a:pt x="322" y="311"/>
                  <a:pt x="310" y="312"/>
                  <a:pt x="298" y="313"/>
                </a:cubicBezTo>
                <a:cubicBezTo>
                  <a:pt x="287" y="313"/>
                  <a:pt x="276" y="314"/>
                  <a:pt x="265" y="316"/>
                </a:cubicBezTo>
                <a:cubicBezTo>
                  <a:pt x="250" y="318"/>
                  <a:pt x="236" y="322"/>
                  <a:pt x="222" y="325"/>
                </a:cubicBezTo>
                <a:cubicBezTo>
                  <a:pt x="212" y="327"/>
                  <a:pt x="203" y="330"/>
                  <a:pt x="194" y="333"/>
                </a:cubicBezTo>
                <a:cubicBezTo>
                  <a:pt x="186" y="336"/>
                  <a:pt x="179" y="338"/>
                  <a:pt x="171" y="341"/>
                </a:cubicBezTo>
                <a:cubicBezTo>
                  <a:pt x="159" y="347"/>
                  <a:pt x="146" y="352"/>
                  <a:pt x="134" y="359"/>
                </a:cubicBezTo>
                <a:cubicBezTo>
                  <a:pt x="122" y="365"/>
                  <a:pt x="111" y="373"/>
                  <a:pt x="99" y="381"/>
                </a:cubicBezTo>
                <a:cubicBezTo>
                  <a:pt x="93" y="385"/>
                  <a:pt x="88" y="388"/>
                  <a:pt x="82" y="393"/>
                </a:cubicBezTo>
                <a:cubicBezTo>
                  <a:pt x="74" y="400"/>
                  <a:pt x="65" y="408"/>
                  <a:pt x="57" y="416"/>
                </a:cubicBezTo>
                <a:cubicBezTo>
                  <a:pt x="46" y="426"/>
                  <a:pt x="36" y="437"/>
                  <a:pt x="28" y="449"/>
                </a:cubicBezTo>
                <a:cubicBezTo>
                  <a:pt x="26" y="452"/>
                  <a:pt x="24" y="456"/>
                  <a:pt x="22" y="459"/>
                </a:cubicBezTo>
                <a:cubicBezTo>
                  <a:pt x="19" y="464"/>
                  <a:pt x="15" y="468"/>
                  <a:pt x="13" y="473"/>
                </a:cubicBezTo>
                <a:cubicBezTo>
                  <a:pt x="8" y="487"/>
                  <a:pt x="1" y="500"/>
                  <a:pt x="1" y="515"/>
                </a:cubicBezTo>
                <a:cubicBezTo>
                  <a:pt x="1" y="522"/>
                  <a:pt x="0" y="529"/>
                  <a:pt x="0" y="535"/>
                </a:cubicBezTo>
                <a:cubicBezTo>
                  <a:pt x="0" y="548"/>
                  <a:pt x="3" y="560"/>
                  <a:pt x="7" y="572"/>
                </a:cubicBezTo>
                <a:cubicBezTo>
                  <a:pt x="13" y="589"/>
                  <a:pt x="21" y="604"/>
                  <a:pt x="30" y="619"/>
                </a:cubicBezTo>
                <a:cubicBezTo>
                  <a:pt x="41" y="635"/>
                  <a:pt x="52" y="651"/>
                  <a:pt x="61" y="668"/>
                </a:cubicBezTo>
                <a:cubicBezTo>
                  <a:pt x="72" y="687"/>
                  <a:pt x="81" y="707"/>
                  <a:pt x="90" y="726"/>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BE" sz="2400">
              <a:latin typeface="+mn-lt"/>
            </a:endParaRPr>
          </a:p>
        </p:txBody>
      </p:sp>
      <p:pic>
        <p:nvPicPr>
          <p:cNvPr id="4" name="Picture 3" descr="image22.png">
            <a:extLst>
              <a:ext uri="{FF2B5EF4-FFF2-40B4-BE49-F238E27FC236}">
                <a16:creationId xmlns:a16="http://schemas.microsoft.com/office/drawing/2014/main" id="{994CA207-DC94-4640-BFFE-65CA58A1382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11357" y="1177159"/>
            <a:ext cx="6563937" cy="53557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Picture Placeholder 9">
            <a:extLst>
              <a:ext uri="{FF2B5EF4-FFF2-40B4-BE49-F238E27FC236}">
                <a16:creationId xmlns:a16="http://schemas.microsoft.com/office/drawing/2014/main" id="{3FDE047B-EA39-AF44-9F57-7BB464534BE7}"/>
              </a:ext>
            </a:extLst>
          </p:cNvPr>
          <p:cNvSpPr>
            <a:spLocks noGrp="1"/>
          </p:cNvSpPr>
          <p:nvPr>
            <p:ph type="pic" sz="quarter" idx="10" hasCustomPrompt="1"/>
          </p:nvPr>
        </p:nvSpPr>
        <p:spPr>
          <a:xfrm>
            <a:off x="2032424" y="1443567"/>
            <a:ext cx="5283200" cy="3005667"/>
          </a:xfrm>
          <a:prstGeom prst="rect">
            <a:avLst/>
          </a:prstGeom>
        </p:spPr>
        <p:txBody>
          <a:bodyPr anchor="ctr"/>
          <a:lstStyle>
            <a:lvl1pPr marL="0" indent="0" algn="ctr">
              <a:buNone/>
              <a:defRPr sz="1867">
                <a:solidFill>
                  <a:schemeClr val="bg1"/>
                </a:solidFill>
                <a:latin typeface="+mn-lt"/>
              </a:defRPr>
            </a:lvl1pPr>
          </a:lstStyle>
          <a:p>
            <a:r>
              <a:rPr lang="nl-BE" dirty="0"/>
              <a:t>screenshot</a:t>
            </a:r>
            <a:endParaRPr dirty="0"/>
          </a:p>
        </p:txBody>
      </p:sp>
      <p:grpSp>
        <p:nvGrpSpPr>
          <p:cNvPr id="19" name="Graphic 6">
            <a:extLst>
              <a:ext uri="{FF2B5EF4-FFF2-40B4-BE49-F238E27FC236}">
                <a16:creationId xmlns:a16="http://schemas.microsoft.com/office/drawing/2014/main" id="{4AB27EBE-7B4B-4B01-A688-69DF5E1FFDBD}"/>
              </a:ext>
            </a:extLst>
          </p:cNvPr>
          <p:cNvGrpSpPr>
            <a:grpSpLocks noChangeAspect="1"/>
          </p:cNvGrpSpPr>
          <p:nvPr userDrawn="1"/>
        </p:nvGrpSpPr>
        <p:grpSpPr>
          <a:xfrm>
            <a:off x="9938029" y="5731006"/>
            <a:ext cx="1603572" cy="475823"/>
            <a:chOff x="1454943" y="1645443"/>
            <a:chExt cx="6227445" cy="1847850"/>
          </a:xfrm>
          <a:solidFill>
            <a:schemeClr val="bg1"/>
          </a:solidFill>
        </p:grpSpPr>
        <p:sp>
          <p:nvSpPr>
            <p:cNvPr id="20" name="Freeform: Shape 19">
              <a:extLst>
                <a:ext uri="{FF2B5EF4-FFF2-40B4-BE49-F238E27FC236}">
                  <a16:creationId xmlns:a16="http://schemas.microsoft.com/office/drawing/2014/main" id="{122C66D9-9C6F-43EA-811F-BFD6DE0E09C3}"/>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1" name="Freeform: Shape 20">
              <a:extLst>
                <a:ext uri="{FF2B5EF4-FFF2-40B4-BE49-F238E27FC236}">
                  <a16:creationId xmlns:a16="http://schemas.microsoft.com/office/drawing/2014/main" id="{895DD947-4111-4FF1-BDC9-1FBF56B233E7}"/>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164971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D8FE6A35-1B1A-B443-9747-53AC17FE6B33}"/>
              </a:ext>
            </a:extLst>
          </p:cNvPr>
          <p:cNvSpPr>
            <a:spLocks/>
          </p:cNvSpPr>
          <p:nvPr userDrawn="1"/>
        </p:nvSpPr>
        <p:spPr bwMode="auto">
          <a:xfrm>
            <a:off x="-20520" y="1"/>
            <a:ext cx="12212520" cy="4608471"/>
          </a:xfrm>
          <a:custGeom>
            <a:avLst/>
            <a:gdLst>
              <a:gd name="T0" fmla="*/ 957 w 957"/>
              <a:gd name="T1" fmla="*/ 0 h 362"/>
              <a:gd name="T2" fmla="*/ 1 w 957"/>
              <a:gd name="T3" fmla="*/ 0 h 362"/>
              <a:gd name="T4" fmla="*/ 1 w 957"/>
              <a:gd name="T5" fmla="*/ 3 h 362"/>
              <a:gd name="T6" fmla="*/ 1 w 957"/>
              <a:gd name="T7" fmla="*/ 347 h 362"/>
              <a:gd name="T8" fmla="*/ 1 w 957"/>
              <a:gd name="T9" fmla="*/ 349 h 362"/>
              <a:gd name="T10" fmla="*/ 3 w 957"/>
              <a:gd name="T11" fmla="*/ 352 h 362"/>
              <a:gd name="T12" fmla="*/ 14 w 957"/>
              <a:gd name="T13" fmla="*/ 352 h 362"/>
              <a:gd name="T14" fmla="*/ 54 w 957"/>
              <a:gd name="T15" fmla="*/ 349 h 362"/>
              <a:gd name="T16" fmla="*/ 62 w 957"/>
              <a:gd name="T17" fmla="*/ 347 h 362"/>
              <a:gd name="T18" fmla="*/ 72 w 957"/>
              <a:gd name="T19" fmla="*/ 345 h 362"/>
              <a:gd name="T20" fmla="*/ 85 w 957"/>
              <a:gd name="T21" fmla="*/ 341 h 362"/>
              <a:gd name="T22" fmla="*/ 102 w 957"/>
              <a:gd name="T23" fmla="*/ 336 h 362"/>
              <a:gd name="T24" fmla="*/ 120 w 957"/>
              <a:gd name="T25" fmla="*/ 328 h 362"/>
              <a:gd name="T26" fmla="*/ 154 w 957"/>
              <a:gd name="T27" fmla="*/ 313 h 362"/>
              <a:gd name="T28" fmla="*/ 173 w 957"/>
              <a:gd name="T29" fmla="*/ 303 h 362"/>
              <a:gd name="T30" fmla="*/ 209 w 957"/>
              <a:gd name="T31" fmla="*/ 286 h 362"/>
              <a:gd name="T32" fmla="*/ 222 w 957"/>
              <a:gd name="T33" fmla="*/ 280 h 362"/>
              <a:gd name="T34" fmla="*/ 240 w 957"/>
              <a:gd name="T35" fmla="*/ 275 h 362"/>
              <a:gd name="T36" fmla="*/ 253 w 957"/>
              <a:gd name="T37" fmla="*/ 270 h 362"/>
              <a:gd name="T38" fmla="*/ 262 w 957"/>
              <a:gd name="T39" fmla="*/ 268 h 362"/>
              <a:gd name="T40" fmla="*/ 279 w 957"/>
              <a:gd name="T41" fmla="*/ 265 h 362"/>
              <a:gd name="T42" fmla="*/ 299 w 957"/>
              <a:gd name="T43" fmla="*/ 261 h 362"/>
              <a:gd name="T44" fmla="*/ 334 w 957"/>
              <a:gd name="T45" fmla="*/ 259 h 362"/>
              <a:gd name="T46" fmla="*/ 375 w 957"/>
              <a:gd name="T47" fmla="*/ 259 h 362"/>
              <a:gd name="T48" fmla="*/ 411 w 957"/>
              <a:gd name="T49" fmla="*/ 263 h 362"/>
              <a:gd name="T50" fmla="*/ 470 w 957"/>
              <a:gd name="T51" fmla="*/ 275 h 362"/>
              <a:gd name="T52" fmla="*/ 522 w 957"/>
              <a:gd name="T53" fmla="*/ 290 h 362"/>
              <a:gd name="T54" fmla="*/ 550 w 957"/>
              <a:gd name="T55" fmla="*/ 299 h 362"/>
              <a:gd name="T56" fmla="*/ 588 w 957"/>
              <a:gd name="T57" fmla="*/ 311 h 362"/>
              <a:gd name="T58" fmla="*/ 630 w 957"/>
              <a:gd name="T59" fmla="*/ 323 h 362"/>
              <a:gd name="T60" fmla="*/ 694 w 957"/>
              <a:gd name="T61" fmla="*/ 341 h 362"/>
              <a:gd name="T62" fmla="*/ 744 w 957"/>
              <a:gd name="T63" fmla="*/ 351 h 362"/>
              <a:gd name="T64" fmla="*/ 780 w 957"/>
              <a:gd name="T65" fmla="*/ 357 h 362"/>
              <a:gd name="T66" fmla="*/ 831 w 957"/>
              <a:gd name="T67" fmla="*/ 362 h 362"/>
              <a:gd name="T68" fmla="*/ 862 w 957"/>
              <a:gd name="T69" fmla="*/ 362 h 362"/>
              <a:gd name="T70" fmla="*/ 896 w 957"/>
              <a:gd name="T71" fmla="*/ 359 h 362"/>
              <a:gd name="T72" fmla="*/ 918 w 957"/>
              <a:gd name="T73" fmla="*/ 355 h 362"/>
              <a:gd name="T74" fmla="*/ 926 w 957"/>
              <a:gd name="T75" fmla="*/ 354 h 362"/>
              <a:gd name="T76" fmla="*/ 938 w 957"/>
              <a:gd name="T77" fmla="*/ 351 h 362"/>
              <a:gd name="T78" fmla="*/ 953 w 957"/>
              <a:gd name="T79" fmla="*/ 347 h 362"/>
              <a:gd name="T80" fmla="*/ 957 w 957"/>
              <a:gd name="T81" fmla="*/ 346 h 362"/>
              <a:gd name="T82" fmla="*/ 957 w 957"/>
              <a:gd name="T83"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7" h="362">
                <a:moveTo>
                  <a:pt x="957" y="0"/>
                </a:moveTo>
                <a:cubicBezTo>
                  <a:pt x="1" y="0"/>
                  <a:pt x="1" y="0"/>
                  <a:pt x="1" y="0"/>
                </a:cubicBezTo>
                <a:cubicBezTo>
                  <a:pt x="1" y="1"/>
                  <a:pt x="1" y="2"/>
                  <a:pt x="1" y="3"/>
                </a:cubicBezTo>
                <a:cubicBezTo>
                  <a:pt x="1" y="118"/>
                  <a:pt x="1" y="232"/>
                  <a:pt x="1" y="347"/>
                </a:cubicBezTo>
                <a:cubicBezTo>
                  <a:pt x="1" y="347"/>
                  <a:pt x="1" y="348"/>
                  <a:pt x="1" y="349"/>
                </a:cubicBezTo>
                <a:cubicBezTo>
                  <a:pt x="0" y="351"/>
                  <a:pt x="1" y="352"/>
                  <a:pt x="3" y="352"/>
                </a:cubicBezTo>
                <a:cubicBezTo>
                  <a:pt x="7" y="352"/>
                  <a:pt x="10" y="352"/>
                  <a:pt x="14" y="352"/>
                </a:cubicBezTo>
                <a:cubicBezTo>
                  <a:pt x="27" y="352"/>
                  <a:pt x="41" y="351"/>
                  <a:pt x="54" y="349"/>
                </a:cubicBezTo>
                <a:cubicBezTo>
                  <a:pt x="57" y="348"/>
                  <a:pt x="59" y="348"/>
                  <a:pt x="62" y="347"/>
                </a:cubicBezTo>
                <a:cubicBezTo>
                  <a:pt x="66" y="347"/>
                  <a:pt x="69" y="346"/>
                  <a:pt x="72" y="345"/>
                </a:cubicBezTo>
                <a:cubicBezTo>
                  <a:pt x="77" y="344"/>
                  <a:pt x="81" y="342"/>
                  <a:pt x="85" y="341"/>
                </a:cubicBezTo>
                <a:cubicBezTo>
                  <a:pt x="91" y="339"/>
                  <a:pt x="96" y="338"/>
                  <a:pt x="102" y="336"/>
                </a:cubicBezTo>
                <a:cubicBezTo>
                  <a:pt x="108" y="334"/>
                  <a:pt x="114" y="331"/>
                  <a:pt x="120" y="328"/>
                </a:cubicBezTo>
                <a:cubicBezTo>
                  <a:pt x="132" y="324"/>
                  <a:pt x="143" y="317"/>
                  <a:pt x="154" y="313"/>
                </a:cubicBezTo>
                <a:cubicBezTo>
                  <a:pt x="161" y="311"/>
                  <a:pt x="166" y="306"/>
                  <a:pt x="173" y="303"/>
                </a:cubicBezTo>
                <a:cubicBezTo>
                  <a:pt x="184" y="297"/>
                  <a:pt x="196" y="291"/>
                  <a:pt x="209" y="286"/>
                </a:cubicBezTo>
                <a:cubicBezTo>
                  <a:pt x="213" y="285"/>
                  <a:pt x="218" y="282"/>
                  <a:pt x="222" y="280"/>
                </a:cubicBezTo>
                <a:cubicBezTo>
                  <a:pt x="228" y="278"/>
                  <a:pt x="234" y="277"/>
                  <a:pt x="240" y="275"/>
                </a:cubicBezTo>
                <a:cubicBezTo>
                  <a:pt x="245" y="273"/>
                  <a:pt x="249" y="272"/>
                  <a:pt x="253" y="270"/>
                </a:cubicBezTo>
                <a:cubicBezTo>
                  <a:pt x="256" y="270"/>
                  <a:pt x="259" y="269"/>
                  <a:pt x="262" y="268"/>
                </a:cubicBezTo>
                <a:cubicBezTo>
                  <a:pt x="268" y="267"/>
                  <a:pt x="273" y="266"/>
                  <a:pt x="279" y="265"/>
                </a:cubicBezTo>
                <a:cubicBezTo>
                  <a:pt x="286" y="264"/>
                  <a:pt x="293" y="262"/>
                  <a:pt x="299" y="261"/>
                </a:cubicBezTo>
                <a:cubicBezTo>
                  <a:pt x="311" y="260"/>
                  <a:pt x="322" y="259"/>
                  <a:pt x="334" y="259"/>
                </a:cubicBezTo>
                <a:cubicBezTo>
                  <a:pt x="347" y="258"/>
                  <a:pt x="361" y="258"/>
                  <a:pt x="375" y="259"/>
                </a:cubicBezTo>
                <a:cubicBezTo>
                  <a:pt x="387" y="259"/>
                  <a:pt x="399" y="261"/>
                  <a:pt x="411" y="263"/>
                </a:cubicBezTo>
                <a:cubicBezTo>
                  <a:pt x="431" y="266"/>
                  <a:pt x="451" y="270"/>
                  <a:pt x="470" y="275"/>
                </a:cubicBezTo>
                <a:cubicBezTo>
                  <a:pt x="488" y="279"/>
                  <a:pt x="505" y="285"/>
                  <a:pt x="522" y="290"/>
                </a:cubicBezTo>
                <a:cubicBezTo>
                  <a:pt x="532" y="293"/>
                  <a:pt x="541" y="296"/>
                  <a:pt x="550" y="299"/>
                </a:cubicBezTo>
                <a:cubicBezTo>
                  <a:pt x="563" y="303"/>
                  <a:pt x="576" y="307"/>
                  <a:pt x="588" y="311"/>
                </a:cubicBezTo>
                <a:cubicBezTo>
                  <a:pt x="602" y="315"/>
                  <a:pt x="616" y="320"/>
                  <a:pt x="630" y="323"/>
                </a:cubicBezTo>
                <a:cubicBezTo>
                  <a:pt x="651" y="329"/>
                  <a:pt x="672" y="335"/>
                  <a:pt x="694" y="341"/>
                </a:cubicBezTo>
                <a:cubicBezTo>
                  <a:pt x="711" y="345"/>
                  <a:pt x="727" y="348"/>
                  <a:pt x="744" y="351"/>
                </a:cubicBezTo>
                <a:cubicBezTo>
                  <a:pt x="756" y="353"/>
                  <a:pt x="768" y="355"/>
                  <a:pt x="780" y="357"/>
                </a:cubicBezTo>
                <a:cubicBezTo>
                  <a:pt x="797" y="359"/>
                  <a:pt x="814" y="360"/>
                  <a:pt x="831" y="362"/>
                </a:cubicBezTo>
                <a:cubicBezTo>
                  <a:pt x="841" y="362"/>
                  <a:pt x="852" y="362"/>
                  <a:pt x="862" y="362"/>
                </a:cubicBezTo>
                <a:cubicBezTo>
                  <a:pt x="873" y="361"/>
                  <a:pt x="884" y="360"/>
                  <a:pt x="896" y="359"/>
                </a:cubicBezTo>
                <a:cubicBezTo>
                  <a:pt x="903" y="358"/>
                  <a:pt x="911" y="357"/>
                  <a:pt x="918" y="355"/>
                </a:cubicBezTo>
                <a:cubicBezTo>
                  <a:pt x="921" y="355"/>
                  <a:pt x="924" y="354"/>
                  <a:pt x="926" y="354"/>
                </a:cubicBezTo>
                <a:cubicBezTo>
                  <a:pt x="930" y="353"/>
                  <a:pt x="934" y="352"/>
                  <a:pt x="938" y="351"/>
                </a:cubicBezTo>
                <a:cubicBezTo>
                  <a:pt x="943" y="350"/>
                  <a:pt x="948" y="348"/>
                  <a:pt x="953" y="347"/>
                </a:cubicBezTo>
                <a:cubicBezTo>
                  <a:pt x="954" y="347"/>
                  <a:pt x="956" y="346"/>
                  <a:pt x="957" y="346"/>
                </a:cubicBezTo>
                <a:lnTo>
                  <a:pt x="957" y="0"/>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endParaRPr lang="en-BE" sz="2400"/>
          </a:p>
        </p:txBody>
      </p:sp>
      <p:sp>
        <p:nvSpPr>
          <p:cNvPr id="9" name="Picture Placeholder 8">
            <a:extLst>
              <a:ext uri="{FF2B5EF4-FFF2-40B4-BE49-F238E27FC236}">
                <a16:creationId xmlns:a16="http://schemas.microsoft.com/office/drawing/2014/main" id="{D3E0D834-5C8A-514A-90BA-5B5F27DA616E}"/>
              </a:ext>
            </a:extLst>
          </p:cNvPr>
          <p:cNvSpPr>
            <a:spLocks noGrp="1"/>
          </p:cNvSpPr>
          <p:nvPr>
            <p:ph type="pic" sz="quarter" idx="10"/>
          </p:nvPr>
        </p:nvSpPr>
        <p:spPr>
          <a:xfrm>
            <a:off x="1765419" y="2444514"/>
            <a:ext cx="2133600" cy="2134053"/>
          </a:xfrm>
          <a:custGeom>
            <a:avLst/>
            <a:gdLst>
              <a:gd name="connsiteX0" fmla="*/ 0 w 1600200"/>
              <a:gd name="connsiteY0" fmla="*/ 800100 h 1600200"/>
              <a:gd name="connsiteX1" fmla="*/ 800100 w 1600200"/>
              <a:gd name="connsiteY1" fmla="*/ 0 h 1600200"/>
              <a:gd name="connsiteX2" fmla="*/ 1600200 w 1600200"/>
              <a:gd name="connsiteY2" fmla="*/ 800100 h 1600200"/>
              <a:gd name="connsiteX3" fmla="*/ 800100 w 1600200"/>
              <a:gd name="connsiteY3" fmla="*/ 1600200 h 1600200"/>
              <a:gd name="connsiteX4" fmla="*/ 0 w 1600200"/>
              <a:gd name="connsiteY4" fmla="*/ 800100 h 1600200"/>
              <a:gd name="connsiteX0" fmla="*/ 0 w 1600200"/>
              <a:gd name="connsiteY0" fmla="*/ 800270 h 1600370"/>
              <a:gd name="connsiteX1" fmla="*/ 800100 w 1600200"/>
              <a:gd name="connsiteY1" fmla="*/ 170 h 1600370"/>
              <a:gd name="connsiteX2" fmla="*/ 1600200 w 1600200"/>
              <a:gd name="connsiteY2" fmla="*/ 800270 h 1600370"/>
              <a:gd name="connsiteX3" fmla="*/ 800100 w 1600200"/>
              <a:gd name="connsiteY3" fmla="*/ 1600370 h 1600370"/>
              <a:gd name="connsiteX4" fmla="*/ 0 w 1600200"/>
              <a:gd name="connsiteY4" fmla="*/ 800270 h 1600370"/>
              <a:gd name="connsiteX0" fmla="*/ 0 w 1600200"/>
              <a:gd name="connsiteY0" fmla="*/ 800270 h 1600540"/>
              <a:gd name="connsiteX1" fmla="*/ 800100 w 1600200"/>
              <a:gd name="connsiteY1" fmla="*/ 170 h 1600540"/>
              <a:gd name="connsiteX2" fmla="*/ 1600200 w 1600200"/>
              <a:gd name="connsiteY2" fmla="*/ 800270 h 1600540"/>
              <a:gd name="connsiteX3" fmla="*/ 800100 w 1600200"/>
              <a:gd name="connsiteY3" fmla="*/ 1600370 h 1600540"/>
              <a:gd name="connsiteX4" fmla="*/ 0 w 1600200"/>
              <a:gd name="connsiteY4" fmla="*/ 800270 h 160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0540">
                <a:moveTo>
                  <a:pt x="0" y="800270"/>
                </a:moveTo>
                <a:cubicBezTo>
                  <a:pt x="0" y="358387"/>
                  <a:pt x="293563" y="-9066"/>
                  <a:pt x="800100" y="170"/>
                </a:cubicBezTo>
                <a:cubicBezTo>
                  <a:pt x="1306637" y="9406"/>
                  <a:pt x="1600200" y="358387"/>
                  <a:pt x="1600200" y="800270"/>
                </a:cubicBezTo>
                <a:cubicBezTo>
                  <a:pt x="1600200" y="1242153"/>
                  <a:pt x="1315874" y="1609606"/>
                  <a:pt x="800100" y="1600370"/>
                </a:cubicBezTo>
                <a:cubicBezTo>
                  <a:pt x="284326" y="1591134"/>
                  <a:pt x="0" y="1242153"/>
                  <a:pt x="0" y="800270"/>
                </a:cubicBezTo>
                <a:close/>
              </a:path>
            </a:pathLst>
          </a:custGeom>
          <a:solidFill>
            <a:schemeClr val="bg2"/>
          </a:solidFill>
        </p:spPr>
        <p:txBody>
          <a:bodyPr anchor="ctr"/>
          <a:lstStyle>
            <a:lvl1pPr marL="0" indent="0" algn="ctr">
              <a:buNone/>
              <a:defRPr sz="1600">
                <a:solidFill>
                  <a:schemeClr val="tx2"/>
                </a:solidFill>
                <a:latin typeface="+mn-lt"/>
              </a:defRPr>
            </a:lvl1pPr>
          </a:lstStyle>
          <a:p>
            <a:r>
              <a:rPr lang="nl-NL" dirty="0"/>
              <a:t>Klik op het pictogram als u een afbeelding wilt toevoegen</a:t>
            </a:r>
            <a:endParaRPr dirty="0"/>
          </a:p>
        </p:txBody>
      </p:sp>
      <p:sp>
        <p:nvSpPr>
          <p:cNvPr id="11" name="Text Placeholder 10">
            <a:extLst>
              <a:ext uri="{FF2B5EF4-FFF2-40B4-BE49-F238E27FC236}">
                <a16:creationId xmlns:a16="http://schemas.microsoft.com/office/drawing/2014/main" id="{4FB98697-611B-9946-A0E4-30570271CE09}"/>
              </a:ext>
            </a:extLst>
          </p:cNvPr>
          <p:cNvSpPr>
            <a:spLocks noGrp="1"/>
          </p:cNvSpPr>
          <p:nvPr>
            <p:ph type="body" sz="quarter" idx="11" hasCustomPrompt="1"/>
          </p:nvPr>
        </p:nvSpPr>
        <p:spPr>
          <a:xfrm>
            <a:off x="1765419" y="4777319"/>
            <a:ext cx="6948863" cy="1429509"/>
          </a:xfrm>
          <a:prstGeom prst="rect">
            <a:avLst/>
          </a:prstGeom>
        </p:spPr>
        <p:txBody>
          <a:bodyPr/>
          <a:lstStyle>
            <a:lvl1pPr marL="0" indent="0">
              <a:buNone/>
              <a:defRPr sz="1867">
                <a:solidFill>
                  <a:schemeClr val="tx2"/>
                </a:solidFill>
                <a:latin typeface="+mn-lt"/>
                <a:ea typeface="Roboto" panose="02000000000000000000" pitchFamily="2" charset="0"/>
              </a:defRPr>
            </a:lvl1pPr>
          </a:lstStyle>
          <a:p>
            <a:pPr lvl="0"/>
            <a:r>
              <a:rPr lang="en-US" dirty="0"/>
              <a:t>Click to add text</a:t>
            </a:r>
          </a:p>
        </p:txBody>
      </p:sp>
      <p:sp>
        <p:nvSpPr>
          <p:cNvPr id="12" name="Text Placeholder 10">
            <a:extLst>
              <a:ext uri="{FF2B5EF4-FFF2-40B4-BE49-F238E27FC236}">
                <a16:creationId xmlns:a16="http://schemas.microsoft.com/office/drawing/2014/main" id="{7E31E073-FE25-944B-8B16-7DDEEB3CBA8D}"/>
              </a:ext>
            </a:extLst>
          </p:cNvPr>
          <p:cNvSpPr>
            <a:spLocks noGrp="1"/>
          </p:cNvSpPr>
          <p:nvPr>
            <p:ph type="body" sz="quarter" idx="12" hasCustomPrompt="1"/>
          </p:nvPr>
        </p:nvSpPr>
        <p:spPr>
          <a:xfrm>
            <a:off x="523197" y="948746"/>
            <a:ext cx="11145608" cy="1029956"/>
          </a:xfrm>
          <a:prstGeom prst="rect">
            <a:avLst/>
          </a:prstGeom>
        </p:spPr>
        <p:txBody>
          <a:bodyPr/>
          <a:lstStyle>
            <a:lvl1pPr marL="0" indent="0" algn="ctr">
              <a:buNone/>
              <a:defRPr sz="3733" b="1" spc="0">
                <a:solidFill>
                  <a:schemeClr val="bg1"/>
                </a:solidFill>
                <a:latin typeface="Crank 8 Plus Two" panose="02000506030000020004" pitchFamily="50" charset="0"/>
                <a:ea typeface="Roboto" panose="02000000000000000000" pitchFamily="2" charset="0"/>
              </a:defRPr>
            </a:lvl1pPr>
          </a:lstStyle>
          <a:p>
            <a:pPr lvl="0"/>
            <a:r>
              <a:rPr lang="en-US" dirty="0" err="1"/>
              <a:t>Bedankt</a:t>
            </a:r>
            <a:r>
              <a:rPr lang="en-US" dirty="0"/>
              <a:t>!</a:t>
            </a:r>
          </a:p>
        </p:txBody>
      </p:sp>
      <p:grpSp>
        <p:nvGrpSpPr>
          <p:cNvPr id="18" name="Graphic 6">
            <a:extLst>
              <a:ext uri="{FF2B5EF4-FFF2-40B4-BE49-F238E27FC236}">
                <a16:creationId xmlns:a16="http://schemas.microsoft.com/office/drawing/2014/main" id="{A13BEDEA-A1C1-4277-AFE9-1375A861DC69}"/>
              </a:ext>
            </a:extLst>
          </p:cNvPr>
          <p:cNvGrpSpPr>
            <a:grpSpLocks noChangeAspect="1"/>
          </p:cNvGrpSpPr>
          <p:nvPr userDrawn="1"/>
        </p:nvGrpSpPr>
        <p:grpSpPr>
          <a:xfrm>
            <a:off x="9938029" y="5731006"/>
            <a:ext cx="1603572" cy="475823"/>
            <a:chOff x="1454943" y="1645443"/>
            <a:chExt cx="6227445" cy="1847850"/>
          </a:xfrm>
          <a:solidFill>
            <a:schemeClr val="accent1"/>
          </a:solidFill>
        </p:grpSpPr>
        <p:sp>
          <p:nvSpPr>
            <p:cNvPr id="19" name="Freeform: Shape 18">
              <a:extLst>
                <a:ext uri="{FF2B5EF4-FFF2-40B4-BE49-F238E27FC236}">
                  <a16:creationId xmlns:a16="http://schemas.microsoft.com/office/drawing/2014/main" id="{83A1A0DC-629D-419A-977F-B75F30DD4CC6}"/>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20" name="Freeform: Shape 19">
              <a:extLst>
                <a:ext uri="{FF2B5EF4-FFF2-40B4-BE49-F238E27FC236}">
                  <a16:creationId xmlns:a16="http://schemas.microsoft.com/office/drawing/2014/main" id="{7012BC4D-B0F4-498C-9197-5E3C3585B781}"/>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1492871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Cover - Team">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3708" y="5013221"/>
            <a:ext cx="2202311" cy="990030"/>
          </a:xfrm>
          <a:prstGeom prst="rect">
            <a:avLst/>
          </a:prstGeom>
        </p:spPr>
      </p:pic>
      <p:pic>
        <p:nvPicPr>
          <p:cNvPr id="8" name="Picture 7">
            <a:extLst>
              <a:ext uri="{FF2B5EF4-FFF2-40B4-BE49-F238E27FC236}">
                <a16:creationId xmlns:a16="http://schemas.microsoft.com/office/drawing/2014/main" id="{0D213145-3ED4-E047-8556-E46E74A71DB5}"/>
              </a:ext>
            </a:extLst>
          </p:cNvPr>
          <p:cNvPicPr>
            <a:picLocks/>
          </p:cNvPicPr>
          <p:nvPr userDrawn="1"/>
        </p:nvPicPr>
        <p:blipFill rotWithShape="1">
          <a:blip r:embed="rId5">
            <a:extLst>
              <a:ext uri="{28A0092B-C50C-407E-A947-70E740481C1C}">
                <a14:useLocalDpi xmlns:a14="http://schemas.microsoft.com/office/drawing/2010/main" val="0"/>
              </a:ext>
            </a:extLst>
          </a:blip>
          <a:srcRect l="495" t="17484" r="495" b="26222"/>
          <a:stretch/>
        </p:blipFill>
        <p:spPr>
          <a:xfrm>
            <a:off x="0" y="0"/>
            <a:ext cx="12191999" cy="4617720"/>
          </a:xfrm>
          <a:prstGeom prst="rect">
            <a:avLst/>
          </a:prstGeom>
        </p:spPr>
      </p:pic>
    </p:spTree>
    <p:extLst>
      <p:ext uri="{BB962C8B-B14F-4D97-AF65-F5344CB8AC3E}">
        <p14:creationId xmlns:p14="http://schemas.microsoft.com/office/powerpoint/2010/main" val="2773767820"/>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3" name="Holder 3"/>
          <p:cNvSpPr>
            <a:spLocks noGrp="1"/>
          </p:cNvSpPr>
          <p:nvPr>
            <p:ph type="body" idx="1" hasCustomPrompt="1"/>
          </p:nvPr>
        </p:nvSpPr>
        <p:spPr>
          <a:xfrm>
            <a:off x="604799" y="1847654"/>
            <a:ext cx="10980000" cy="3390346"/>
          </a:xfrm>
          <a:prstGeom prst="rect">
            <a:avLst/>
          </a:prstGeom>
        </p:spPr>
        <p:txBody>
          <a:bodyPr lIns="0" tIns="0" rIns="0" bIns="0" anchor="ctr">
            <a:noAutofit/>
          </a:bodyPr>
          <a:lstStyle>
            <a:lvl1pPr marL="342900" indent="-342900">
              <a:spcBef>
                <a:spcPts val="1800"/>
              </a:spcBef>
              <a:spcAft>
                <a:spcPts val="600"/>
              </a:spcAft>
              <a:buClr>
                <a:schemeClr val="accent5"/>
              </a:buClr>
              <a:buSzPct val="100000"/>
              <a:buFont typeface="+mj-lt"/>
              <a:buAutoNum type="arabicPeriod"/>
              <a:defRPr sz="2200" b="0" spc="0" baseline="0">
                <a:solidFill>
                  <a:schemeClr val="accent2">
                    <a:lumMod val="75000"/>
                  </a:schemeClr>
                </a:solidFill>
              </a:defRPr>
            </a:lvl1pPr>
            <a:lvl2pPr marL="342000" indent="0">
              <a:spcBef>
                <a:spcPts val="300"/>
              </a:spcBef>
              <a:spcAft>
                <a:spcPts val="300"/>
              </a:spcAft>
              <a:buClrTx/>
              <a:buSzPct val="100000"/>
              <a:buFontTx/>
              <a:buNone/>
              <a:defRPr sz="1600" b="0" i="0">
                <a:solidFill>
                  <a:srgbClr val="E84405"/>
                </a:solidFill>
                <a:latin typeface="Arial" charset="0"/>
                <a:ea typeface="Arial" charset="0"/>
                <a:cs typeface="Arial" charset="0"/>
              </a:defRPr>
            </a:lvl2pPr>
          </a:lstStyle>
          <a:p>
            <a:pPr lvl="0"/>
            <a:r>
              <a:rPr lang="en-GB" noProof="0" dirty="0"/>
              <a:t>Insert your agenda item</a:t>
            </a:r>
          </a:p>
          <a:p>
            <a:pPr lvl="1"/>
            <a:r>
              <a:rPr lang="en-GB" noProof="0" dirty="0"/>
              <a:t>Insert your sub-item</a:t>
            </a:r>
          </a:p>
          <a:p>
            <a:pPr lvl="0"/>
            <a:r>
              <a:rPr lang="en-GB" noProof="0" dirty="0"/>
              <a:t>Insert your agenda item</a:t>
            </a:r>
          </a:p>
          <a:p>
            <a:pPr lvl="1"/>
            <a:r>
              <a:rPr lang="en-GB" noProof="0" dirty="0" err="1"/>
              <a:t>Inseert</a:t>
            </a:r>
            <a:r>
              <a:rPr lang="en-GB" noProof="0" dirty="0"/>
              <a:t> your sub-item</a:t>
            </a:r>
          </a:p>
        </p:txBody>
      </p:sp>
      <p:sp>
        <p:nvSpPr>
          <p:cNvPr id="6" name="Holder 6"/>
          <p:cNvSpPr>
            <a:spLocks noGrp="1"/>
          </p:cNvSpPr>
          <p:nvPr>
            <p:ph type="sldNum" sz="quarter" idx="7"/>
          </p:nvPr>
        </p:nvSpPr>
        <p:spPr>
          <a:xfrm>
            <a:off x="604799" y="6526318"/>
            <a:ext cx="492035" cy="141064"/>
          </a:xfrm>
        </p:spPr>
        <p:txBody>
          <a:bodyPr lIns="0" tIns="0" rIns="0" bIns="0"/>
          <a:lstStyle>
            <a:lvl1pPr>
              <a:defRPr sz="1000" b="0" i="0">
                <a:solidFill>
                  <a:schemeClr val="bg1"/>
                </a:solidFill>
                <a:latin typeface="Arial"/>
                <a:cs typeface="Arial"/>
              </a:defRPr>
            </a:lvl1pPr>
          </a:lstStyle>
          <a:p>
            <a:pPr marL="25400">
              <a:lnSpc>
                <a:spcPts val="1110"/>
              </a:lnSpc>
            </a:pPr>
            <a:fld id="{81D60167-4931-47E6-BA6A-407CBD079E47}" type="slidenum">
              <a:rPr lang="tr-TR" smtClean="0"/>
              <a:pPr marL="25400">
                <a:lnSpc>
                  <a:spcPts val="1110"/>
                </a:lnSpc>
              </a:pPr>
              <a:t>‹nr.›</a:t>
            </a:fld>
            <a:endParaRPr lang="tr-TR" dirty="0"/>
          </a:p>
        </p:txBody>
      </p:sp>
      <p:sp>
        <p:nvSpPr>
          <p:cNvPr id="9" name="Holder 2"/>
          <p:cNvSpPr>
            <a:spLocks noGrp="1"/>
          </p:cNvSpPr>
          <p:nvPr>
            <p:ph type="title" hasCustomPrompt="1"/>
          </p:nvPr>
        </p:nvSpPr>
        <p:spPr>
          <a:xfrm>
            <a:off x="604800" y="695584"/>
            <a:ext cx="10800000" cy="384721"/>
          </a:xfrm>
        </p:spPr>
        <p:txBody>
          <a:bodyPr lIns="0" tIns="0" rIns="0" bIns="0">
            <a:noAutofit/>
          </a:bodyPr>
          <a:lstStyle>
            <a:lvl1pPr>
              <a:defRPr sz="3500" b="0" i="0" spc="0">
                <a:solidFill>
                  <a:srgbClr val="7C2855"/>
                </a:solidFill>
                <a:latin typeface="Arial Standaard" charset="0"/>
                <a:cs typeface="Arial Standaard" charset="0"/>
              </a:defRPr>
            </a:lvl1pPr>
          </a:lstStyle>
          <a:p>
            <a:r>
              <a:rPr lang="en-GB" noProof="0" dirty="0"/>
              <a:t>Insert agenda</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82908" y="6353666"/>
            <a:ext cx="1024136" cy="460392"/>
          </a:xfrm>
          <a:prstGeom prst="rect">
            <a:avLst/>
          </a:prstGeom>
        </p:spPr>
      </p:pic>
    </p:spTree>
    <p:extLst>
      <p:ext uri="{BB962C8B-B14F-4D97-AF65-F5344CB8AC3E}">
        <p14:creationId xmlns:p14="http://schemas.microsoft.com/office/powerpoint/2010/main" val="2214056064"/>
      </p:ext>
    </p:extLst>
  </p:cSld>
  <p:clrMapOvr>
    <a:masterClrMapping/>
  </p:clrMapOvr>
  <p:extLst>
    <p:ext uri="{DCECCB84-F9BA-43D5-87BE-67443E8EF086}">
      <p15:sldGuideLst xmlns:p15="http://schemas.microsoft.com/office/powerpoint/2012/main">
        <p15:guide id="1" pos="604">
          <p15:clr>
            <a:srgbClr val="FBAE40"/>
          </p15:clr>
        </p15:guide>
        <p15:guide id="2"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 Team">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3708" y="5013221"/>
            <a:ext cx="2202311" cy="990030"/>
          </a:xfrm>
          <a:prstGeom prst="rect">
            <a:avLst/>
          </a:prstGeom>
        </p:spPr>
      </p:pic>
      <p:pic>
        <p:nvPicPr>
          <p:cNvPr id="8" name="Picture 7">
            <a:extLst>
              <a:ext uri="{FF2B5EF4-FFF2-40B4-BE49-F238E27FC236}">
                <a16:creationId xmlns:a16="http://schemas.microsoft.com/office/drawing/2014/main" id="{0D213145-3ED4-E047-8556-E46E74A71DB5}"/>
              </a:ext>
            </a:extLst>
          </p:cNvPr>
          <p:cNvPicPr>
            <a:picLocks/>
          </p:cNvPicPr>
          <p:nvPr userDrawn="1"/>
        </p:nvPicPr>
        <p:blipFill rotWithShape="1">
          <a:blip r:embed="rId5">
            <a:extLst>
              <a:ext uri="{28A0092B-C50C-407E-A947-70E740481C1C}">
                <a14:useLocalDpi xmlns:a14="http://schemas.microsoft.com/office/drawing/2010/main" val="0"/>
              </a:ext>
            </a:extLst>
          </a:blip>
          <a:srcRect l="495" t="17484" r="495" b="26222"/>
          <a:stretch/>
        </p:blipFill>
        <p:spPr>
          <a:xfrm>
            <a:off x="0" y="0"/>
            <a:ext cx="12191999" cy="4617720"/>
          </a:xfrm>
          <a:prstGeom prst="rect">
            <a:avLst/>
          </a:prstGeom>
        </p:spPr>
      </p:pic>
    </p:spTree>
    <p:extLst>
      <p:ext uri="{BB962C8B-B14F-4D97-AF65-F5344CB8AC3E}">
        <p14:creationId xmlns:p14="http://schemas.microsoft.com/office/powerpoint/2010/main" val="20592947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Cover slid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5C75519-941A-44A6-851F-E2ABBCCC78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0888133" cy="6858000"/>
          </a:xfrm>
          <a:prstGeom prst="rect">
            <a:avLst/>
          </a:prstGeom>
        </p:spPr>
      </p:pic>
      <p:sp>
        <p:nvSpPr>
          <p:cNvPr id="20" name="Title 2">
            <a:extLst>
              <a:ext uri="{FF2B5EF4-FFF2-40B4-BE49-F238E27FC236}">
                <a16:creationId xmlns:a16="http://schemas.microsoft.com/office/drawing/2014/main" id="{3CB02C63-BC74-4A8C-9EE5-F63DC8076773}"/>
              </a:ext>
            </a:extLst>
          </p:cNvPr>
          <p:cNvSpPr>
            <a:spLocks noGrp="1"/>
          </p:cNvSpPr>
          <p:nvPr>
            <p:ph type="title" hasCustomPrompt="1"/>
          </p:nvPr>
        </p:nvSpPr>
        <p:spPr>
          <a:xfrm>
            <a:off x="2950900" y="1478606"/>
            <a:ext cx="8589731" cy="3198533"/>
          </a:xfrm>
          <a:prstGeom prst="rect">
            <a:avLst/>
          </a:prstGeom>
        </p:spPr>
        <p:txBody>
          <a:bodyPr wrap="square" anchor="ctr" anchorCtr="0">
            <a:noAutofit/>
          </a:bodyPr>
          <a:lstStyle>
            <a:lvl1pPr algn="l">
              <a:lnSpc>
                <a:spcPct val="80000"/>
              </a:lnSpc>
              <a:defRPr sz="3733">
                <a:solidFill>
                  <a:schemeClr val="tx2"/>
                </a:solidFill>
                <a:latin typeface="Crank 8 Plus Two" panose="02000506030000020004" pitchFamily="50" charset="0"/>
              </a:defRPr>
            </a:lvl1pPr>
          </a:lstStyle>
          <a:p>
            <a:r>
              <a:rPr lang="en-US" dirty="0"/>
              <a:t>Click to edit master text style</a:t>
            </a:r>
            <a:endParaRPr lang="nl-NL" dirty="0"/>
          </a:p>
        </p:txBody>
      </p:sp>
      <p:grpSp>
        <p:nvGrpSpPr>
          <p:cNvPr id="13" name="Graphic 6">
            <a:extLst>
              <a:ext uri="{FF2B5EF4-FFF2-40B4-BE49-F238E27FC236}">
                <a16:creationId xmlns:a16="http://schemas.microsoft.com/office/drawing/2014/main" id="{69C14791-FFCC-4216-AAC6-F2F1D2EF1D4D}"/>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4" name="Freeform: Shape 13">
              <a:extLst>
                <a:ext uri="{FF2B5EF4-FFF2-40B4-BE49-F238E27FC236}">
                  <a16:creationId xmlns:a16="http://schemas.microsoft.com/office/drawing/2014/main" id="{0091FEF8-31A6-473B-9D7F-459964FC5584}"/>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5" name="Freeform: Shape 14">
              <a:extLst>
                <a:ext uri="{FF2B5EF4-FFF2-40B4-BE49-F238E27FC236}">
                  <a16:creationId xmlns:a16="http://schemas.microsoft.com/office/drawing/2014/main" id="{7826D2A1-D506-4382-98C1-AACF698FD605}"/>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7409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 Meeting">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pic>
        <p:nvPicPr>
          <p:cNvPr id="8" name="Picture 7"/>
          <p:cNvPicPr>
            <a:picLocks/>
          </p:cNvPicPr>
          <p:nvPr userDrawn="1"/>
        </p:nvPicPr>
        <p:blipFill rotWithShape="1">
          <a:blip r:embed="rId3">
            <a:extLst>
              <a:ext uri="{28A0092B-C50C-407E-A947-70E740481C1C}">
                <a14:useLocalDpi xmlns:a14="http://schemas.microsoft.com/office/drawing/2010/main" val="0"/>
              </a:ext>
            </a:extLst>
          </a:blip>
          <a:srcRect l="535" t="9391" r="535" b="34404"/>
          <a:stretch/>
        </p:blipFill>
        <p:spPr>
          <a:xfrm>
            <a:off x="-1" y="-2"/>
            <a:ext cx="12192000" cy="4617720"/>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3708" y="5013221"/>
            <a:ext cx="2202311" cy="990030"/>
          </a:xfrm>
          <a:prstGeom prst="rect">
            <a:avLst/>
          </a:prstGeom>
        </p:spPr>
      </p:pic>
    </p:spTree>
    <p:extLst>
      <p:ext uri="{BB962C8B-B14F-4D97-AF65-F5344CB8AC3E}">
        <p14:creationId xmlns:p14="http://schemas.microsoft.com/office/powerpoint/2010/main" val="29139239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ver - Financial">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pic>
        <p:nvPicPr>
          <p:cNvPr id="8" name="Picture 7"/>
          <p:cNvPicPr>
            <a:picLocks/>
          </p:cNvPicPr>
          <p:nvPr userDrawn="1"/>
        </p:nvPicPr>
        <p:blipFill rotWithShape="1">
          <a:blip r:embed="rId3">
            <a:extLst>
              <a:ext uri="{28A0092B-C50C-407E-A947-70E740481C1C}">
                <a14:useLocalDpi xmlns:a14="http://schemas.microsoft.com/office/drawing/2010/main" val="0"/>
              </a:ext>
            </a:extLst>
          </a:blip>
          <a:srcRect l="611" t="11516" r="611" b="32366"/>
          <a:stretch/>
        </p:blipFill>
        <p:spPr>
          <a:xfrm>
            <a:off x="0" y="-2"/>
            <a:ext cx="12192000" cy="4617720"/>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3708" y="5013221"/>
            <a:ext cx="2202311" cy="990030"/>
          </a:xfrm>
          <a:prstGeom prst="rect">
            <a:avLst/>
          </a:prstGeom>
        </p:spPr>
      </p:pic>
    </p:spTree>
    <p:extLst>
      <p:ext uri="{BB962C8B-B14F-4D97-AF65-F5344CB8AC3E}">
        <p14:creationId xmlns:p14="http://schemas.microsoft.com/office/powerpoint/2010/main" val="208471102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 Team 2">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pic>
        <p:nvPicPr>
          <p:cNvPr id="8" name="Picture 7"/>
          <p:cNvPicPr>
            <a:picLocks/>
          </p:cNvPicPr>
          <p:nvPr userDrawn="1"/>
        </p:nvPicPr>
        <p:blipFill rotWithShape="1">
          <a:blip r:embed="rId3">
            <a:extLst>
              <a:ext uri="{28A0092B-C50C-407E-A947-70E740481C1C}">
                <a14:useLocalDpi xmlns:a14="http://schemas.microsoft.com/office/drawing/2010/main" val="0"/>
              </a:ext>
            </a:extLst>
          </a:blip>
          <a:srcRect l="2077" t="21097" r="2077" b="24451"/>
          <a:stretch/>
        </p:blipFill>
        <p:spPr>
          <a:xfrm>
            <a:off x="-1" y="-2"/>
            <a:ext cx="12191999" cy="4617720"/>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63708" y="5013221"/>
            <a:ext cx="2202311" cy="990030"/>
          </a:xfrm>
          <a:prstGeom prst="rect">
            <a:avLst/>
          </a:prstGeom>
        </p:spPr>
      </p:pic>
    </p:spTree>
    <p:extLst>
      <p:ext uri="{BB962C8B-B14F-4D97-AF65-F5344CB8AC3E}">
        <p14:creationId xmlns:p14="http://schemas.microsoft.com/office/powerpoint/2010/main" val="16879938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 Free image">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17" name="Holder 2"/>
          <p:cNvSpPr>
            <a:spLocks noGrp="1"/>
          </p:cNvSpPr>
          <p:nvPr>
            <p:ph type="ctrTitle" hasCustomPrompt="1"/>
          </p:nvPr>
        </p:nvSpPr>
        <p:spPr>
          <a:xfrm>
            <a:off x="605292" y="4951942"/>
            <a:ext cx="8906354" cy="512961"/>
          </a:xfrm>
          <a:prstGeom prst="rect">
            <a:avLst/>
          </a:prstGeom>
        </p:spPr>
        <p:txBody>
          <a:bodyPr wrap="square" lIns="0" tIns="0" rIns="0" bIns="0" anchor="b">
            <a:noAutofit/>
          </a:bodyPr>
          <a:lstStyle>
            <a:lvl1pPr>
              <a:lnSpc>
                <a:spcPts val="4000"/>
              </a:lnSpc>
              <a:defRPr sz="3200" b="1" i="0">
                <a:solidFill>
                  <a:srgbClr val="7C2855"/>
                </a:solidFill>
                <a:latin typeface="Arial" charset="0"/>
                <a:ea typeface="Arial" charset="0"/>
                <a:cs typeface="Arial" charset="0"/>
              </a:defRPr>
            </a:lvl1pPr>
          </a:lstStyle>
          <a:p>
            <a:r>
              <a:rPr lang="en-GB" noProof="0"/>
              <a:t>Insert title</a:t>
            </a:r>
          </a:p>
        </p:txBody>
      </p:sp>
      <p:sp>
        <p:nvSpPr>
          <p:cNvPr id="18" name="Holder 3"/>
          <p:cNvSpPr>
            <a:spLocks noGrp="1"/>
          </p:cNvSpPr>
          <p:nvPr>
            <p:ph type="subTitle" idx="4" hasCustomPrompt="1"/>
          </p:nvPr>
        </p:nvSpPr>
        <p:spPr>
          <a:xfrm>
            <a:off x="604801" y="5608131"/>
            <a:ext cx="8906354" cy="320601"/>
          </a:xfrm>
          <a:prstGeom prst="rect">
            <a:avLst/>
          </a:prstGeom>
        </p:spPr>
        <p:txBody>
          <a:bodyPr wrap="square" lIns="0" tIns="0" rIns="0" bIns="0">
            <a:noAutofit/>
          </a:bodyPr>
          <a:lstStyle>
            <a:lvl1pPr marL="0" indent="0">
              <a:lnSpc>
                <a:spcPts val="2500"/>
              </a:lnSpc>
              <a:buNone/>
              <a:defRPr sz="2000" b="0">
                <a:solidFill>
                  <a:srgbClr val="DC4405"/>
                </a:solidFill>
              </a:defRPr>
            </a:lvl1pPr>
          </a:lstStyle>
          <a:p>
            <a:r>
              <a:rPr lang="en-GB" noProof="0"/>
              <a:t>Insert subtitle</a:t>
            </a:r>
          </a:p>
        </p:txBody>
      </p:sp>
      <p:sp>
        <p:nvSpPr>
          <p:cNvPr id="19" name="Tijdelijke aanduiding voor tekst 9"/>
          <p:cNvSpPr>
            <a:spLocks noGrp="1"/>
          </p:cNvSpPr>
          <p:nvPr>
            <p:ph type="body" sz="quarter" idx="10" hasCustomPrompt="1"/>
          </p:nvPr>
        </p:nvSpPr>
        <p:spPr>
          <a:xfrm>
            <a:off x="599486" y="6400801"/>
            <a:ext cx="6798495" cy="367872"/>
          </a:xfrm>
          <a:prstGeom prst="rect">
            <a:avLst/>
          </a:prstGeom>
        </p:spPr>
        <p:txBody>
          <a:bodyPr anchor="ctr">
            <a:noAutofit/>
          </a:bodyPr>
          <a:lstStyle>
            <a:lvl1pPr marL="12700" indent="0">
              <a:lnSpc>
                <a:spcPct val="100000"/>
              </a:lnSpc>
              <a:buNone/>
              <a:defRPr sz="1400" b="0" baseline="0">
                <a:solidFill>
                  <a:schemeClr val="bg1"/>
                </a:solidFill>
              </a:defRPr>
            </a:lvl1pPr>
          </a:lstStyle>
          <a:p>
            <a:pPr marL="12700">
              <a:lnSpc>
                <a:spcPct val="100000"/>
              </a:lnSpc>
            </a:pPr>
            <a:r>
              <a:rPr lang="en-GB" sz="1400" noProof="0">
                <a:latin typeface="Arial"/>
                <a:cs typeface="Arial"/>
              </a:rPr>
              <a:t>Insert date I name client I name consultant or HR partner</a:t>
            </a:r>
          </a:p>
        </p:txBody>
      </p:sp>
      <p:pic>
        <p:nvPicPr>
          <p:cNvPr id="3" name="Graphic 2">
            <a:extLst>
              <a:ext uri="{FF2B5EF4-FFF2-40B4-BE49-F238E27FC236}">
                <a16:creationId xmlns:a16="http://schemas.microsoft.com/office/drawing/2014/main" id="{CBD53A23-C8B8-4843-A05C-AA7C8B8F292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63708" y="5013221"/>
            <a:ext cx="2202311" cy="990030"/>
          </a:xfrm>
          <a:prstGeom prst="rect">
            <a:avLst/>
          </a:prstGeom>
        </p:spPr>
      </p:pic>
      <p:sp>
        <p:nvSpPr>
          <p:cNvPr id="6" name="Tijdelijke aanduiding voor afbeelding 5">
            <a:extLst>
              <a:ext uri="{FF2B5EF4-FFF2-40B4-BE49-F238E27FC236}">
                <a16:creationId xmlns:a16="http://schemas.microsoft.com/office/drawing/2014/main" id="{F317B425-E407-6246-BDD0-32A216E99B94}"/>
              </a:ext>
            </a:extLst>
          </p:cNvPr>
          <p:cNvSpPr>
            <a:spLocks noGrp="1"/>
          </p:cNvSpPr>
          <p:nvPr>
            <p:ph type="pic" sz="quarter" idx="12" hasCustomPrompt="1"/>
          </p:nvPr>
        </p:nvSpPr>
        <p:spPr>
          <a:xfrm>
            <a:off x="-1" y="8106"/>
            <a:ext cx="12192000" cy="4641850"/>
          </a:xfr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Tree>
    <p:extLst>
      <p:ext uri="{BB962C8B-B14F-4D97-AF65-F5344CB8AC3E}">
        <p14:creationId xmlns:p14="http://schemas.microsoft.com/office/powerpoint/2010/main" val="394978029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Colour - No Image ">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4339772" y="2587934"/>
            <a:ext cx="6792685" cy="641201"/>
          </a:xfrm>
          <a:prstGeom prst="rect">
            <a:avLst/>
          </a:prstGeom>
        </p:spPr>
        <p:txBody>
          <a:bodyPr wrap="square" lIns="0" tIns="0" rIns="0" bIns="0" anchor="b">
            <a:noAutofit/>
          </a:bodyPr>
          <a:lstStyle>
            <a:lvl1pPr>
              <a:lnSpc>
                <a:spcPts val="5000"/>
              </a:lnSpc>
              <a:defRPr sz="5000" b="1" i="0">
                <a:solidFill>
                  <a:srgbClr val="7C2855"/>
                </a:solidFill>
                <a:latin typeface="Arial" charset="0"/>
                <a:ea typeface="Arial" charset="0"/>
                <a:cs typeface="Arial" charset="0"/>
              </a:defRPr>
            </a:lvl1pPr>
          </a:lstStyle>
          <a:p>
            <a:r>
              <a:rPr lang="en-GB" noProof="0"/>
              <a:t>Insert title</a:t>
            </a:r>
          </a:p>
        </p:txBody>
      </p:sp>
      <p:sp>
        <p:nvSpPr>
          <p:cNvPr id="3" name="Holder 3"/>
          <p:cNvSpPr>
            <a:spLocks noGrp="1"/>
          </p:cNvSpPr>
          <p:nvPr>
            <p:ph type="subTitle" idx="4" hasCustomPrompt="1"/>
          </p:nvPr>
        </p:nvSpPr>
        <p:spPr>
          <a:xfrm>
            <a:off x="4333966" y="3439406"/>
            <a:ext cx="6798495" cy="320601"/>
          </a:xfrm>
          <a:prstGeom prst="rect">
            <a:avLst/>
          </a:prstGeom>
        </p:spPr>
        <p:txBody>
          <a:bodyPr wrap="square" lIns="0" tIns="0" rIns="0" bIns="0">
            <a:noAutofit/>
          </a:bodyPr>
          <a:lstStyle>
            <a:lvl1pPr marL="0" indent="0">
              <a:lnSpc>
                <a:spcPts val="2500"/>
              </a:lnSpc>
              <a:buNone/>
              <a:defRPr sz="2200" b="0">
                <a:solidFill>
                  <a:srgbClr val="DC4405"/>
                </a:solidFill>
              </a:defRPr>
            </a:lvl1pPr>
          </a:lstStyle>
          <a:p>
            <a:r>
              <a:rPr lang="en-GB" noProof="0"/>
              <a:t>Insert subtitle</a:t>
            </a:r>
          </a:p>
        </p:txBody>
      </p:sp>
      <p:sp>
        <p:nvSpPr>
          <p:cNvPr id="10" name="Tijdelijke aanduiding voor tekst 9"/>
          <p:cNvSpPr>
            <a:spLocks noGrp="1"/>
          </p:cNvSpPr>
          <p:nvPr>
            <p:ph type="body" sz="quarter" idx="10" hasCustomPrompt="1"/>
          </p:nvPr>
        </p:nvSpPr>
        <p:spPr>
          <a:xfrm>
            <a:off x="4333966" y="4365851"/>
            <a:ext cx="6798495" cy="215444"/>
          </a:xfrm>
          <a:prstGeom prst="rect">
            <a:avLst/>
          </a:prstGeom>
        </p:spPr>
        <p:txBody>
          <a:bodyPr>
            <a:noAutofit/>
          </a:bodyPr>
          <a:lstStyle>
            <a:lvl1pPr marL="12700" indent="0">
              <a:lnSpc>
                <a:spcPct val="100000"/>
              </a:lnSpc>
              <a:buNone/>
              <a:defRPr sz="1400" b="0" baseline="0">
                <a:solidFill>
                  <a:srgbClr val="575A5C"/>
                </a:solidFill>
              </a:defRPr>
            </a:lvl1pPr>
          </a:lstStyle>
          <a:p>
            <a:pPr marL="12700">
              <a:lnSpc>
                <a:spcPct val="100000"/>
              </a:lnSpc>
            </a:pPr>
            <a:r>
              <a:rPr lang="en-GB" sz="1400" noProof="0">
                <a:latin typeface="Arial"/>
                <a:cs typeface="Arial"/>
              </a:rPr>
              <a:t>Insert date I name client I name consultant or HR partner</a:t>
            </a:r>
          </a:p>
        </p:txBody>
      </p:sp>
      <p:pic>
        <p:nvPicPr>
          <p:cNvPr id="7" name="Afbeelding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35152" b="28921"/>
          <a:stretch/>
        </p:blipFill>
        <p:spPr>
          <a:xfrm>
            <a:off x="4" y="1"/>
            <a:ext cx="3781579" cy="6873515"/>
          </a:xfrm>
          <a:prstGeom prst="rect">
            <a:avLst/>
          </a:prstGeom>
        </p:spPr>
      </p:pic>
      <p:pic>
        <p:nvPicPr>
          <p:cNvPr id="8" name="Graphic 7">
            <a:extLst>
              <a:ext uri="{FF2B5EF4-FFF2-40B4-BE49-F238E27FC236}">
                <a16:creationId xmlns:a16="http://schemas.microsoft.com/office/drawing/2014/main" id="{CD24C1E6-F4B4-9F47-82F5-9ADA9E4F6586}"/>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77281" y="5371439"/>
            <a:ext cx="2202311" cy="990030"/>
          </a:xfrm>
          <a:prstGeom prst="rect">
            <a:avLst/>
          </a:prstGeom>
        </p:spPr>
      </p:pic>
    </p:spTree>
    <p:extLst>
      <p:ext uri="{BB962C8B-B14F-4D97-AF65-F5344CB8AC3E}">
        <p14:creationId xmlns:p14="http://schemas.microsoft.com/office/powerpoint/2010/main" val="33980912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ver Gray - No Image ">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4339772" y="2587934"/>
            <a:ext cx="6792685" cy="641201"/>
          </a:xfrm>
          <a:prstGeom prst="rect">
            <a:avLst/>
          </a:prstGeom>
        </p:spPr>
        <p:txBody>
          <a:bodyPr wrap="square" lIns="0" tIns="0" rIns="0" bIns="0" anchor="b">
            <a:noAutofit/>
          </a:bodyPr>
          <a:lstStyle>
            <a:lvl1pPr>
              <a:lnSpc>
                <a:spcPts val="5000"/>
              </a:lnSpc>
              <a:defRPr sz="5000" b="1" i="0">
                <a:solidFill>
                  <a:srgbClr val="7C2855"/>
                </a:solidFill>
                <a:latin typeface="Arial" charset="0"/>
                <a:ea typeface="Arial" charset="0"/>
                <a:cs typeface="Arial" charset="0"/>
              </a:defRPr>
            </a:lvl1pPr>
          </a:lstStyle>
          <a:p>
            <a:r>
              <a:rPr lang="en-GB" noProof="0"/>
              <a:t>Insert title</a:t>
            </a:r>
          </a:p>
        </p:txBody>
      </p:sp>
      <p:sp>
        <p:nvSpPr>
          <p:cNvPr id="3" name="Holder 3"/>
          <p:cNvSpPr>
            <a:spLocks noGrp="1"/>
          </p:cNvSpPr>
          <p:nvPr>
            <p:ph type="subTitle" idx="4" hasCustomPrompt="1"/>
          </p:nvPr>
        </p:nvSpPr>
        <p:spPr>
          <a:xfrm>
            <a:off x="4333966" y="3439406"/>
            <a:ext cx="6798495" cy="320601"/>
          </a:xfrm>
          <a:prstGeom prst="rect">
            <a:avLst/>
          </a:prstGeom>
        </p:spPr>
        <p:txBody>
          <a:bodyPr wrap="square" lIns="0" tIns="0" rIns="0" bIns="0">
            <a:noAutofit/>
          </a:bodyPr>
          <a:lstStyle>
            <a:lvl1pPr marL="0" indent="0">
              <a:lnSpc>
                <a:spcPts val="2500"/>
              </a:lnSpc>
              <a:buNone/>
              <a:defRPr sz="2200" b="0">
                <a:solidFill>
                  <a:srgbClr val="DC4405"/>
                </a:solidFill>
              </a:defRPr>
            </a:lvl1pPr>
          </a:lstStyle>
          <a:p>
            <a:r>
              <a:rPr lang="en-GB" noProof="0"/>
              <a:t>Insert subtitle</a:t>
            </a:r>
          </a:p>
        </p:txBody>
      </p:sp>
      <p:sp>
        <p:nvSpPr>
          <p:cNvPr id="10" name="Tijdelijke aanduiding voor tekst 9"/>
          <p:cNvSpPr>
            <a:spLocks noGrp="1"/>
          </p:cNvSpPr>
          <p:nvPr>
            <p:ph type="body" sz="quarter" idx="10" hasCustomPrompt="1"/>
          </p:nvPr>
        </p:nvSpPr>
        <p:spPr>
          <a:xfrm>
            <a:off x="4333966" y="4365851"/>
            <a:ext cx="6798495" cy="215444"/>
          </a:xfrm>
          <a:prstGeom prst="rect">
            <a:avLst/>
          </a:prstGeom>
        </p:spPr>
        <p:txBody>
          <a:bodyPr>
            <a:noAutofit/>
          </a:bodyPr>
          <a:lstStyle>
            <a:lvl1pPr marL="12700" indent="0">
              <a:lnSpc>
                <a:spcPct val="100000"/>
              </a:lnSpc>
              <a:buNone/>
              <a:defRPr sz="1400" b="0" baseline="0">
                <a:solidFill>
                  <a:schemeClr val="accent2">
                    <a:lumMod val="75000"/>
                  </a:schemeClr>
                </a:solidFill>
              </a:defRPr>
            </a:lvl1pPr>
          </a:lstStyle>
          <a:p>
            <a:pPr marL="12700">
              <a:lnSpc>
                <a:spcPct val="100000"/>
              </a:lnSpc>
            </a:pPr>
            <a:r>
              <a:rPr lang="en-GB" sz="1400" noProof="0">
                <a:latin typeface="Arial"/>
                <a:cs typeface="Arial"/>
              </a:rPr>
              <a:t>Insert date I name client I name consultant or HR partner</a:t>
            </a:r>
          </a:p>
        </p:txBody>
      </p:sp>
      <p:pic>
        <p:nvPicPr>
          <p:cNvPr id="8" name="Graphic 7">
            <a:extLst>
              <a:ext uri="{FF2B5EF4-FFF2-40B4-BE49-F238E27FC236}">
                <a16:creationId xmlns:a16="http://schemas.microsoft.com/office/drawing/2014/main" id="{CD24C1E6-F4B4-9F47-82F5-9ADA9E4F658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77281" y="5371439"/>
            <a:ext cx="2202311" cy="990030"/>
          </a:xfrm>
          <a:prstGeom prst="rect">
            <a:avLst/>
          </a:prstGeom>
        </p:spPr>
      </p:pic>
      <p:pic>
        <p:nvPicPr>
          <p:cNvPr id="9" name="Afbeelding 8">
            <a:extLst>
              <a:ext uri="{FF2B5EF4-FFF2-40B4-BE49-F238E27FC236}">
                <a16:creationId xmlns:a16="http://schemas.microsoft.com/office/drawing/2014/main" id="{C3A08CF7-C211-6F47-8251-4DC8A45A5B7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10399"/>
            <a:ext cx="3087630" cy="6858014"/>
          </a:xfrm>
          <a:prstGeom prst="rect">
            <a:avLst/>
          </a:prstGeom>
        </p:spPr>
      </p:pic>
    </p:spTree>
    <p:extLst>
      <p:ext uri="{BB962C8B-B14F-4D97-AF65-F5344CB8AC3E}">
        <p14:creationId xmlns:p14="http://schemas.microsoft.com/office/powerpoint/2010/main" val="27000527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3" name="Holder 3"/>
          <p:cNvSpPr>
            <a:spLocks noGrp="1"/>
          </p:cNvSpPr>
          <p:nvPr>
            <p:ph type="body" idx="1" hasCustomPrompt="1"/>
          </p:nvPr>
        </p:nvSpPr>
        <p:spPr>
          <a:xfrm>
            <a:off x="604799" y="1847654"/>
            <a:ext cx="10980000" cy="3390346"/>
          </a:xfrm>
          <a:prstGeom prst="rect">
            <a:avLst/>
          </a:prstGeom>
        </p:spPr>
        <p:txBody>
          <a:bodyPr lIns="0" tIns="0" rIns="0" bIns="0" anchor="ctr">
            <a:noAutofit/>
          </a:bodyPr>
          <a:lstStyle>
            <a:lvl1pPr marL="342900" indent="-342900">
              <a:spcBef>
                <a:spcPts val="1800"/>
              </a:spcBef>
              <a:spcAft>
                <a:spcPts val="600"/>
              </a:spcAft>
              <a:buClr>
                <a:schemeClr val="accent5"/>
              </a:buClr>
              <a:buSzPct val="100000"/>
              <a:buFont typeface="+mj-lt"/>
              <a:buAutoNum type="arabicPeriod"/>
              <a:defRPr sz="2200" b="0" spc="0" baseline="0">
                <a:solidFill>
                  <a:schemeClr val="accent2">
                    <a:lumMod val="75000"/>
                  </a:schemeClr>
                </a:solidFill>
              </a:defRPr>
            </a:lvl1pPr>
            <a:lvl2pPr marL="342000" indent="0">
              <a:spcBef>
                <a:spcPts val="300"/>
              </a:spcBef>
              <a:spcAft>
                <a:spcPts val="300"/>
              </a:spcAft>
              <a:buClrTx/>
              <a:buSzPct val="100000"/>
              <a:buFontTx/>
              <a:buNone/>
              <a:defRPr sz="1600" b="0" i="0">
                <a:solidFill>
                  <a:srgbClr val="E84405"/>
                </a:solidFill>
                <a:latin typeface="Arial" charset="0"/>
                <a:ea typeface="Arial" charset="0"/>
                <a:cs typeface="Arial" charset="0"/>
              </a:defRPr>
            </a:lvl2pPr>
          </a:lstStyle>
          <a:p>
            <a:pPr lvl="0"/>
            <a:r>
              <a:rPr lang="en-GB" noProof="0" dirty="0"/>
              <a:t>Insert your agenda item</a:t>
            </a:r>
          </a:p>
          <a:p>
            <a:pPr lvl="1"/>
            <a:r>
              <a:rPr lang="en-GB" noProof="0" dirty="0"/>
              <a:t>Insert your sub-item</a:t>
            </a:r>
          </a:p>
          <a:p>
            <a:pPr lvl="0"/>
            <a:r>
              <a:rPr lang="en-GB" noProof="0" dirty="0"/>
              <a:t>Insert your agenda item</a:t>
            </a:r>
          </a:p>
          <a:p>
            <a:pPr lvl="1"/>
            <a:r>
              <a:rPr lang="en-GB" noProof="0" dirty="0" err="1"/>
              <a:t>Inseert</a:t>
            </a:r>
            <a:r>
              <a:rPr lang="en-GB" noProof="0" dirty="0"/>
              <a:t> your sub-item</a:t>
            </a:r>
          </a:p>
        </p:txBody>
      </p:sp>
      <p:sp>
        <p:nvSpPr>
          <p:cNvPr id="6" name="Holder 6"/>
          <p:cNvSpPr>
            <a:spLocks noGrp="1"/>
          </p:cNvSpPr>
          <p:nvPr>
            <p:ph type="sldNum" sz="quarter" idx="7"/>
          </p:nvPr>
        </p:nvSpPr>
        <p:spPr>
          <a:xfrm>
            <a:off x="604799" y="6526318"/>
            <a:ext cx="492035" cy="141064"/>
          </a:xfrm>
        </p:spPr>
        <p:txBody>
          <a:bodyPr lIns="0" tIns="0" rIns="0" bIns="0"/>
          <a:lstStyle>
            <a:lvl1pPr>
              <a:defRPr sz="1000" b="0" i="0">
                <a:solidFill>
                  <a:schemeClr val="bg1"/>
                </a:solidFill>
                <a:latin typeface="Arial"/>
                <a:cs typeface="Arial"/>
              </a:defRPr>
            </a:lvl1pPr>
          </a:lstStyle>
          <a:p>
            <a:pPr marL="25400">
              <a:lnSpc>
                <a:spcPts val="1110"/>
              </a:lnSpc>
            </a:pPr>
            <a:fld id="{81D60167-4931-47E6-BA6A-407CBD079E47}" type="slidenum">
              <a:rPr lang="tr-TR" smtClean="0"/>
              <a:pPr marL="25400">
                <a:lnSpc>
                  <a:spcPts val="1110"/>
                </a:lnSpc>
              </a:pPr>
              <a:t>‹nr.›</a:t>
            </a:fld>
            <a:endParaRPr lang="tr-TR" dirty="0"/>
          </a:p>
        </p:txBody>
      </p:sp>
      <p:sp>
        <p:nvSpPr>
          <p:cNvPr id="9" name="Holder 2"/>
          <p:cNvSpPr>
            <a:spLocks noGrp="1"/>
          </p:cNvSpPr>
          <p:nvPr>
            <p:ph type="title" hasCustomPrompt="1"/>
          </p:nvPr>
        </p:nvSpPr>
        <p:spPr>
          <a:xfrm>
            <a:off x="604800" y="695584"/>
            <a:ext cx="10800000" cy="384721"/>
          </a:xfrm>
        </p:spPr>
        <p:txBody>
          <a:bodyPr lIns="0" tIns="0" rIns="0" bIns="0">
            <a:noAutofit/>
          </a:bodyPr>
          <a:lstStyle>
            <a:lvl1pPr>
              <a:defRPr sz="3500" b="0" i="0" spc="0">
                <a:solidFill>
                  <a:srgbClr val="7C2855"/>
                </a:solidFill>
                <a:latin typeface="Arial Standaard" charset="0"/>
                <a:cs typeface="Arial Standaard" charset="0"/>
              </a:defRPr>
            </a:lvl1pPr>
          </a:lstStyle>
          <a:p>
            <a:r>
              <a:rPr lang="en-GB" noProof="0" dirty="0"/>
              <a:t>Insert agenda</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82908" y="6353666"/>
            <a:ext cx="1024136" cy="460392"/>
          </a:xfrm>
          <a:prstGeom prst="rect">
            <a:avLst/>
          </a:prstGeom>
        </p:spPr>
      </p:pic>
    </p:spTree>
    <p:extLst>
      <p:ext uri="{BB962C8B-B14F-4D97-AF65-F5344CB8AC3E}">
        <p14:creationId xmlns:p14="http://schemas.microsoft.com/office/powerpoint/2010/main" val="736455981"/>
      </p:ext>
    </p:extLst>
  </p:cSld>
  <p:clrMapOvr>
    <a:masterClrMapping/>
  </p:clrMapOvr>
  <p:extLst>
    <p:ext uri="{DCECCB84-F9BA-43D5-87BE-67443E8EF086}">
      <p15:sldGuideLst xmlns:p15="http://schemas.microsoft.com/office/powerpoint/2012/main">
        <p15:guide id="1" pos="604">
          <p15:clr>
            <a:srgbClr val="FBAE40"/>
          </p15:clr>
        </p15:guide>
        <p15:guide id="2"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Titl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3737610" cy="6858000"/>
          </a:xfrm>
          <a:prstGeom prst="rect">
            <a:avLst/>
          </a:prstGeom>
        </p:spPr>
      </p:pic>
      <p:sp>
        <p:nvSpPr>
          <p:cNvPr id="7" name="Holder 2"/>
          <p:cNvSpPr>
            <a:spLocks noGrp="1"/>
          </p:cNvSpPr>
          <p:nvPr>
            <p:ph type="title" hasCustomPrompt="1"/>
          </p:nvPr>
        </p:nvSpPr>
        <p:spPr>
          <a:xfrm>
            <a:off x="4339772" y="2481442"/>
            <a:ext cx="6792685" cy="769441"/>
          </a:xfrm>
        </p:spPr>
        <p:txBody>
          <a:bodyPr lIns="0" tIns="0" rIns="0" bIns="0" anchor="ctr"/>
          <a:lstStyle>
            <a:lvl1pPr>
              <a:lnSpc>
                <a:spcPct val="100000"/>
              </a:lnSpc>
              <a:spcAft>
                <a:spcPts val="600"/>
              </a:spcAft>
              <a:defRPr sz="5000" b="0" i="0">
                <a:solidFill>
                  <a:schemeClr val="accent5"/>
                </a:solidFill>
                <a:latin typeface="Arial Standaard" charset="0"/>
                <a:cs typeface="Arial Standaard" charset="0"/>
              </a:defRPr>
            </a:lvl1pPr>
          </a:lstStyle>
          <a:p>
            <a:r>
              <a:rPr lang="en-GB" noProof="0" dirty="0"/>
              <a:t>Insert chapter title</a:t>
            </a:r>
          </a:p>
        </p:txBody>
      </p:sp>
    </p:spTree>
    <p:extLst>
      <p:ext uri="{BB962C8B-B14F-4D97-AF65-F5344CB8AC3E}">
        <p14:creationId xmlns:p14="http://schemas.microsoft.com/office/powerpoint/2010/main" val="233800728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 title, subtitl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2" name="Content Placeholder 5"/>
          <p:cNvSpPr>
            <a:spLocks noGrp="1"/>
          </p:cNvSpPr>
          <p:nvPr>
            <p:ph sz="quarter" idx="12" hasCustomPrompt="1"/>
          </p:nvPr>
        </p:nvSpPr>
        <p:spPr>
          <a:xfrm>
            <a:off x="604799" y="1997771"/>
            <a:ext cx="10980000" cy="3600000"/>
          </a:xfrm>
          <a:prstGeom prst="rect">
            <a:avLst/>
          </a:prstGeom>
        </p:spPr>
        <p:txBody>
          <a:bodyPr>
            <a:noAutofit/>
          </a:bodyPr>
          <a:lstStyle>
            <a:lvl1pPr>
              <a:spcBef>
                <a:spcPts val="0"/>
              </a:spcBef>
              <a:spcAft>
                <a:spcPts val="600"/>
              </a:spcAft>
              <a:defRPr>
                <a:solidFill>
                  <a:schemeClr val="tx1"/>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a:t>Insert text</a:t>
            </a:r>
          </a:p>
          <a:p>
            <a:pPr lvl="1"/>
            <a:r>
              <a:rPr lang="en-GB" noProof="0"/>
              <a:t>Insert text</a:t>
            </a:r>
          </a:p>
        </p:txBody>
      </p:sp>
    </p:spTree>
    <p:extLst>
      <p:ext uri="{BB962C8B-B14F-4D97-AF65-F5344CB8AC3E}">
        <p14:creationId xmlns:p14="http://schemas.microsoft.com/office/powerpoint/2010/main" val="26506421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 title, subtitle, imag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6399316"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6399316"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2" name="Content Placeholder 5"/>
          <p:cNvSpPr>
            <a:spLocks noGrp="1"/>
          </p:cNvSpPr>
          <p:nvPr>
            <p:ph sz="quarter" idx="12" hasCustomPrompt="1"/>
          </p:nvPr>
        </p:nvSpPr>
        <p:spPr>
          <a:xfrm>
            <a:off x="604799" y="1997771"/>
            <a:ext cx="6399316" cy="3600000"/>
          </a:xfrm>
          <a:prstGeom prst="rect">
            <a:avLst/>
          </a:prstGeom>
        </p:spPr>
        <p:txBody>
          <a:bodyPr>
            <a:noAutofit/>
          </a:bodyPr>
          <a:lstStyle>
            <a:lvl1pPr>
              <a:spcBef>
                <a:spcPts val="0"/>
              </a:spcBef>
              <a:spcAft>
                <a:spcPts val="600"/>
              </a:spcAft>
              <a:defRPr>
                <a:solidFill>
                  <a:schemeClr val="tx1"/>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a:t>Insert text</a:t>
            </a:r>
          </a:p>
          <a:p>
            <a:pPr lvl="1"/>
            <a:r>
              <a:rPr lang="en-GB" noProof="0"/>
              <a:t>Insert text</a:t>
            </a:r>
          </a:p>
        </p:txBody>
      </p:sp>
      <p:sp>
        <p:nvSpPr>
          <p:cNvPr id="11" name="Tijdelijke aanduiding voor afbeelding 5">
            <a:extLst>
              <a:ext uri="{FF2B5EF4-FFF2-40B4-BE49-F238E27FC236}">
                <a16:creationId xmlns:a16="http://schemas.microsoft.com/office/drawing/2014/main" id="{A792E733-D8FA-C04A-B446-547FB8B9A67A}"/>
              </a:ext>
            </a:extLst>
          </p:cNvPr>
          <p:cNvSpPr>
            <a:spLocks noGrp="1"/>
          </p:cNvSpPr>
          <p:nvPr>
            <p:ph type="pic" sz="quarter" idx="16" hasCustomPrompt="1"/>
          </p:nvPr>
        </p:nvSpPr>
        <p:spPr>
          <a:xfrm>
            <a:off x="7550869" y="687030"/>
            <a:ext cx="4036331" cy="5483938"/>
          </a:xfr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Tree>
    <p:extLst>
      <p:ext uri="{BB962C8B-B14F-4D97-AF65-F5344CB8AC3E}">
        <p14:creationId xmlns:p14="http://schemas.microsoft.com/office/powerpoint/2010/main" val="3422473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over slide">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123537A5-D48E-4DA1-8C8D-86ACEF28B964}"/>
              </a:ext>
            </a:extLst>
          </p:cNvPr>
          <p:cNvSpPr>
            <a:spLocks noGrp="1"/>
          </p:cNvSpPr>
          <p:nvPr>
            <p:ph type="pic" sz="quarter" idx="10" hasCustomPrompt="1"/>
          </p:nvPr>
        </p:nvSpPr>
        <p:spPr>
          <a:xfrm>
            <a:off x="1894538" y="3"/>
            <a:ext cx="10297465" cy="6857999"/>
          </a:xfrm>
          <a:custGeom>
            <a:avLst/>
            <a:gdLst>
              <a:gd name="connsiteX0" fmla="*/ 0 w 7723099"/>
              <a:gd name="connsiteY0" fmla="*/ 0 h 5143499"/>
              <a:gd name="connsiteX1" fmla="*/ 7723099 w 7723099"/>
              <a:gd name="connsiteY1" fmla="*/ 0 h 5143499"/>
              <a:gd name="connsiteX2" fmla="*/ 7723099 w 7723099"/>
              <a:gd name="connsiteY2" fmla="*/ 5143499 h 5143499"/>
              <a:gd name="connsiteX3" fmla="*/ 2890144 w 7723099"/>
              <a:gd name="connsiteY3" fmla="*/ 5143499 h 5143499"/>
              <a:gd name="connsiteX4" fmla="*/ 2866993 w 7723099"/>
              <a:gd name="connsiteY4" fmla="*/ 5010519 h 5143499"/>
              <a:gd name="connsiteX5" fmla="*/ 98154 w 7723099"/>
              <a:gd name="connsiteY5" fmla="*/ 473683 h 5143499"/>
              <a:gd name="connsiteX6" fmla="*/ 28429 w 7723099"/>
              <a:gd name="connsiteY6" fmla="*/ 165066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23099" h="5143499">
                <a:moveTo>
                  <a:pt x="0" y="0"/>
                </a:moveTo>
                <a:lnTo>
                  <a:pt x="7723099" y="0"/>
                </a:lnTo>
                <a:lnTo>
                  <a:pt x="7723099" y="5143499"/>
                </a:lnTo>
                <a:lnTo>
                  <a:pt x="2890144" y="5143499"/>
                </a:lnTo>
                <a:lnTo>
                  <a:pt x="2866993" y="5010519"/>
                </a:lnTo>
                <a:cubicBezTo>
                  <a:pt x="2421746" y="3102332"/>
                  <a:pt x="514824" y="2125205"/>
                  <a:pt x="98154" y="473683"/>
                </a:cubicBezTo>
                <a:cubicBezTo>
                  <a:pt x="71821" y="369345"/>
                  <a:pt x="48620" y="266485"/>
                  <a:pt x="28429" y="165066"/>
                </a:cubicBezTo>
                <a:close/>
              </a:path>
            </a:pathLst>
          </a:custGeom>
          <a:solidFill>
            <a:schemeClr val="bg2"/>
          </a:solidFill>
        </p:spPr>
        <p:txBody>
          <a:bodyPr wrap="square" anchor="t" anchorCtr="0">
            <a:noAutofit/>
          </a:bodyPr>
          <a:lstStyle>
            <a:lvl1pPr marL="0" indent="0" algn="l">
              <a:buFont typeface="Arial" panose="020B0604020202020204" pitchFamily="34" charset="0"/>
              <a:buNone/>
              <a:defRPr sz="2133"/>
            </a:lvl1pPr>
          </a:lstStyle>
          <a:p>
            <a:r>
              <a:rPr lang="nl-BE" noProof="0"/>
              <a:t>Klik op het pictogram als u een afbeelding wilt toevoegen</a:t>
            </a:r>
          </a:p>
        </p:txBody>
      </p:sp>
      <p:sp>
        <p:nvSpPr>
          <p:cNvPr id="6" name="Title 2">
            <a:extLst>
              <a:ext uri="{FF2B5EF4-FFF2-40B4-BE49-F238E27FC236}">
                <a16:creationId xmlns:a16="http://schemas.microsoft.com/office/drawing/2014/main" id="{A8278171-9BC4-9444-A0D7-6E5E15AEBF7C}"/>
              </a:ext>
            </a:extLst>
          </p:cNvPr>
          <p:cNvSpPr>
            <a:spLocks noGrp="1"/>
          </p:cNvSpPr>
          <p:nvPr>
            <p:ph type="title"/>
          </p:nvPr>
        </p:nvSpPr>
        <p:spPr>
          <a:xfrm>
            <a:off x="523200" y="3963448"/>
            <a:ext cx="4056000" cy="1412680"/>
          </a:xfrm>
          <a:prstGeom prst="rect">
            <a:avLst/>
          </a:prstGeom>
        </p:spPr>
        <p:txBody>
          <a:bodyPr anchor="b" anchorCtr="0">
            <a:noAutofit/>
          </a:bodyPr>
          <a:lstStyle>
            <a:lvl1pPr algn="l">
              <a:defRPr sz="3733" b="1">
                <a:solidFill>
                  <a:schemeClr val="bg1"/>
                </a:solidFill>
                <a:latin typeface="Crank 8 Plus Two" panose="02000506030000020004" pitchFamily="50" charset="0"/>
              </a:defRPr>
            </a:lvl1pPr>
          </a:lstStyle>
          <a:p>
            <a:endParaRPr lang="nl-BE" noProof="0" dirty="0"/>
          </a:p>
        </p:txBody>
      </p:sp>
      <p:sp>
        <p:nvSpPr>
          <p:cNvPr id="24" name="Text Placeholder 23">
            <a:extLst>
              <a:ext uri="{FF2B5EF4-FFF2-40B4-BE49-F238E27FC236}">
                <a16:creationId xmlns:a16="http://schemas.microsoft.com/office/drawing/2014/main" id="{43D91675-3AC9-4811-B45F-6A45296E05F3}"/>
              </a:ext>
            </a:extLst>
          </p:cNvPr>
          <p:cNvSpPr>
            <a:spLocks noGrp="1"/>
          </p:cNvSpPr>
          <p:nvPr>
            <p:ph type="body" sz="quarter" idx="11"/>
          </p:nvPr>
        </p:nvSpPr>
        <p:spPr>
          <a:xfrm>
            <a:off x="523200" y="5472139"/>
            <a:ext cx="4056000" cy="734688"/>
          </a:xfrm>
          <a:prstGeom prst="rect">
            <a:avLst/>
          </a:prstGeom>
        </p:spPr>
        <p:txBody>
          <a:bodyPr>
            <a:noAutofit/>
          </a:bodyPr>
          <a:lstStyle>
            <a:lvl1pPr marL="0" indent="0">
              <a:buNone/>
              <a:defRPr sz="1867">
                <a:solidFill>
                  <a:schemeClr val="bg1"/>
                </a:solidFill>
                <a:latin typeface="+mn-lt"/>
              </a:defRPr>
            </a:lvl1pPr>
          </a:lstStyle>
          <a:p>
            <a:pPr lvl="0"/>
            <a:endParaRPr lang="nl-BE" noProof="0" dirty="0"/>
          </a:p>
        </p:txBody>
      </p:sp>
      <p:sp>
        <p:nvSpPr>
          <p:cNvPr id="20" name="Freeform: Shape 19">
            <a:extLst>
              <a:ext uri="{FF2B5EF4-FFF2-40B4-BE49-F238E27FC236}">
                <a16:creationId xmlns:a16="http://schemas.microsoft.com/office/drawing/2014/main" id="{E9A7FCC5-1AAB-4E69-B9E0-DBA28A9A1195}"/>
              </a:ext>
            </a:extLst>
          </p:cNvPr>
          <p:cNvSpPr/>
          <p:nvPr/>
        </p:nvSpPr>
        <p:spPr>
          <a:xfrm>
            <a:off x="3" y="0"/>
            <a:ext cx="3763948" cy="3420773"/>
          </a:xfrm>
          <a:custGeom>
            <a:avLst/>
            <a:gdLst>
              <a:gd name="connsiteX0" fmla="*/ 0 w 2822961"/>
              <a:gd name="connsiteY0" fmla="*/ 0 h 2565580"/>
              <a:gd name="connsiteX1" fmla="*/ 1420902 w 2822961"/>
              <a:gd name="connsiteY1" fmla="*/ 0 h 2565580"/>
              <a:gd name="connsiteX2" fmla="*/ 1449331 w 2822961"/>
              <a:gd name="connsiteY2" fmla="*/ 165067 h 2565580"/>
              <a:gd name="connsiteX3" fmla="*/ 1519056 w 2822961"/>
              <a:gd name="connsiteY3" fmla="*/ 473684 h 2565580"/>
              <a:gd name="connsiteX4" fmla="*/ 2460842 w 2822961"/>
              <a:gd name="connsiteY4" fmla="*/ 2131799 h 2565580"/>
              <a:gd name="connsiteX5" fmla="*/ 2822961 w 2822961"/>
              <a:gd name="connsiteY5" fmla="*/ 2562781 h 2565580"/>
              <a:gd name="connsiteX6" fmla="*/ 2812678 w 2822961"/>
              <a:gd name="connsiteY6" fmla="*/ 2563551 h 2565580"/>
              <a:gd name="connsiteX7" fmla="*/ 2351432 w 2822961"/>
              <a:gd name="connsiteY7" fmla="*/ 2545068 h 2565580"/>
              <a:gd name="connsiteX8" fmla="*/ 131224 w 2822961"/>
              <a:gd name="connsiteY8" fmla="*/ 1963156 h 2565580"/>
              <a:gd name="connsiteX9" fmla="*/ 0 w 2822961"/>
              <a:gd name="connsiteY9" fmla="*/ 1974431 h 256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2961" h="2565580">
                <a:moveTo>
                  <a:pt x="0" y="0"/>
                </a:moveTo>
                <a:lnTo>
                  <a:pt x="1420902" y="0"/>
                </a:lnTo>
                <a:lnTo>
                  <a:pt x="1449331" y="165067"/>
                </a:lnTo>
                <a:cubicBezTo>
                  <a:pt x="1469522" y="266486"/>
                  <a:pt x="1492723" y="369346"/>
                  <a:pt x="1519056" y="473684"/>
                </a:cubicBezTo>
                <a:cubicBezTo>
                  <a:pt x="1675307" y="1093005"/>
                  <a:pt x="2041125" y="1617489"/>
                  <a:pt x="2460842" y="2131799"/>
                </a:cubicBezTo>
                <a:lnTo>
                  <a:pt x="2822961" y="2562781"/>
                </a:lnTo>
                <a:lnTo>
                  <a:pt x="2812678" y="2563551"/>
                </a:lnTo>
                <a:cubicBezTo>
                  <a:pt x="2664857" y="2569047"/>
                  <a:pt x="2510874" y="2563541"/>
                  <a:pt x="2351432" y="2545068"/>
                </a:cubicBezTo>
                <a:cubicBezTo>
                  <a:pt x="1504606" y="2447528"/>
                  <a:pt x="1158506" y="1919707"/>
                  <a:pt x="131224" y="1963156"/>
                </a:cubicBezTo>
                <a:lnTo>
                  <a:pt x="0" y="1974431"/>
                </a:lnTo>
                <a:close/>
              </a:path>
            </a:pathLst>
          </a:custGeom>
          <a:solidFill>
            <a:srgbClr val="A80B7A"/>
          </a:solidFill>
          <a:ln w="9525" cap="flat">
            <a:noFill/>
            <a:prstDash val="solid"/>
            <a:miter/>
          </a:ln>
        </p:spPr>
        <p:txBody>
          <a:bodyPr rtlCol="0" anchor="ctr"/>
          <a:lstStyle/>
          <a:p>
            <a:endParaRPr lang="nl-BE" sz="2400"/>
          </a:p>
        </p:txBody>
      </p:sp>
      <p:sp>
        <p:nvSpPr>
          <p:cNvPr id="10" name="Text Placeholder 4">
            <a:extLst>
              <a:ext uri="{FF2B5EF4-FFF2-40B4-BE49-F238E27FC236}">
                <a16:creationId xmlns:a16="http://schemas.microsoft.com/office/drawing/2014/main" id="{C888250F-B9B0-4E5E-8D63-FD78008902B9}"/>
              </a:ext>
            </a:extLst>
          </p:cNvPr>
          <p:cNvSpPr>
            <a:spLocks noGrp="1" noChangeAspect="1"/>
          </p:cNvSpPr>
          <p:nvPr>
            <p:ph type="body" sz="quarter" idx="12" hasCustomPrompt="1"/>
          </p:nvPr>
        </p:nvSpPr>
        <p:spPr>
          <a:xfrm>
            <a:off x="9938880" y="651173"/>
            <a:ext cx="1602720" cy="4752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lIns="0" tIns="0" rIns="0" bIns="0"/>
          <a:lstStyle>
            <a:lvl1pPr marL="0" indent="0">
              <a:buNone/>
              <a:defRPr sz="800">
                <a:solidFill>
                  <a:schemeClr val="bg1">
                    <a:alpha val="0"/>
                  </a:schemeClr>
                </a:solidFill>
              </a:defRPr>
            </a:lvl1pPr>
          </a:lstStyle>
          <a:p>
            <a:pPr lvl="0"/>
            <a:r>
              <a:rPr lang="en-US" dirty="0"/>
              <a:t>x</a:t>
            </a:r>
            <a:endParaRPr lang="nl-BE" dirty="0"/>
          </a:p>
        </p:txBody>
      </p:sp>
    </p:spTree>
    <p:extLst>
      <p:ext uri="{BB962C8B-B14F-4D97-AF65-F5344CB8AC3E}">
        <p14:creationId xmlns:p14="http://schemas.microsoft.com/office/powerpoint/2010/main" val="235269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 title, subtitle, 2 images">
    <p:spTree>
      <p:nvGrpSpPr>
        <p:cNvPr id="1" name=""/>
        <p:cNvGrpSpPr/>
        <p:nvPr/>
      </p:nvGrpSpPr>
      <p:grpSpPr>
        <a:xfrm>
          <a:off x="0" y="0"/>
          <a:ext cx="0" cy="0"/>
          <a:chOff x="0" y="0"/>
          <a:chExt cx="0" cy="0"/>
        </a:xfrm>
      </p:grpSpPr>
      <p:sp>
        <p:nvSpPr>
          <p:cNvPr id="13" name="Tijdelijke aanduiding voor afbeelding 5">
            <a:extLst>
              <a:ext uri="{FF2B5EF4-FFF2-40B4-BE49-F238E27FC236}">
                <a16:creationId xmlns:a16="http://schemas.microsoft.com/office/drawing/2014/main" id="{ECF6342A-0454-2A4D-86D7-6FD68C353EE6}"/>
              </a:ext>
            </a:extLst>
          </p:cNvPr>
          <p:cNvSpPr>
            <a:spLocks noGrp="1"/>
          </p:cNvSpPr>
          <p:nvPr>
            <p:ph type="pic" sz="quarter" idx="17" hasCustomPrompt="1"/>
          </p:nvPr>
        </p:nvSpPr>
        <p:spPr>
          <a:xfrm>
            <a:off x="7076306" y="3457697"/>
            <a:ext cx="5115694" cy="2713271"/>
          </a:xfrm>
          <a:custGeom>
            <a:avLst/>
            <a:gdLst>
              <a:gd name="connsiteX0" fmla="*/ 0 w 4036331"/>
              <a:gd name="connsiteY0" fmla="*/ 0 h 2713271"/>
              <a:gd name="connsiteX1" fmla="*/ 4036331 w 4036331"/>
              <a:gd name="connsiteY1" fmla="*/ 0 h 2713271"/>
              <a:gd name="connsiteX2" fmla="*/ 4036331 w 4036331"/>
              <a:gd name="connsiteY2" fmla="*/ 2713271 h 2713271"/>
              <a:gd name="connsiteX3" fmla="*/ 0 w 4036331"/>
              <a:gd name="connsiteY3" fmla="*/ 2713271 h 2713271"/>
              <a:gd name="connsiteX4" fmla="*/ 0 w 4036331"/>
              <a:gd name="connsiteY4" fmla="*/ 0 h 2713271"/>
              <a:gd name="connsiteX0" fmla="*/ 405114 w 4441445"/>
              <a:gd name="connsiteY0" fmla="*/ 0 h 2713271"/>
              <a:gd name="connsiteX1" fmla="*/ 4441445 w 4441445"/>
              <a:gd name="connsiteY1" fmla="*/ 0 h 2713271"/>
              <a:gd name="connsiteX2" fmla="*/ 4441445 w 4441445"/>
              <a:gd name="connsiteY2" fmla="*/ 2713271 h 2713271"/>
              <a:gd name="connsiteX3" fmla="*/ 0 w 4441445"/>
              <a:gd name="connsiteY3" fmla="*/ 2701696 h 2713271"/>
              <a:gd name="connsiteX4" fmla="*/ 405114 w 4441445"/>
              <a:gd name="connsiteY4" fmla="*/ 0 h 2713271"/>
              <a:gd name="connsiteX0" fmla="*/ 532435 w 4568766"/>
              <a:gd name="connsiteY0" fmla="*/ 0 h 2713271"/>
              <a:gd name="connsiteX1" fmla="*/ 4568766 w 4568766"/>
              <a:gd name="connsiteY1" fmla="*/ 0 h 2713271"/>
              <a:gd name="connsiteX2" fmla="*/ 4568766 w 4568766"/>
              <a:gd name="connsiteY2" fmla="*/ 2713271 h 2713271"/>
              <a:gd name="connsiteX3" fmla="*/ 0 w 4568766"/>
              <a:gd name="connsiteY3" fmla="*/ 2701696 h 2713271"/>
              <a:gd name="connsiteX4" fmla="*/ 532435 w 4568766"/>
              <a:gd name="connsiteY4" fmla="*/ 0 h 2713271"/>
              <a:gd name="connsiteX0" fmla="*/ 509286 w 4545617"/>
              <a:gd name="connsiteY0" fmla="*/ 0 h 2724845"/>
              <a:gd name="connsiteX1" fmla="*/ 4545617 w 4545617"/>
              <a:gd name="connsiteY1" fmla="*/ 0 h 2724845"/>
              <a:gd name="connsiteX2" fmla="*/ 4545617 w 4545617"/>
              <a:gd name="connsiteY2" fmla="*/ 2713271 h 2724845"/>
              <a:gd name="connsiteX3" fmla="*/ 0 w 4545617"/>
              <a:gd name="connsiteY3" fmla="*/ 2724845 h 2724845"/>
              <a:gd name="connsiteX4" fmla="*/ 509286 w 4545617"/>
              <a:gd name="connsiteY4" fmla="*/ 0 h 2724845"/>
              <a:gd name="connsiteX0" fmla="*/ 509286 w 4545617"/>
              <a:gd name="connsiteY0" fmla="*/ 0 h 2713271"/>
              <a:gd name="connsiteX1" fmla="*/ 4545617 w 4545617"/>
              <a:gd name="connsiteY1" fmla="*/ 0 h 2713271"/>
              <a:gd name="connsiteX2" fmla="*/ 4545617 w 4545617"/>
              <a:gd name="connsiteY2" fmla="*/ 2713271 h 2713271"/>
              <a:gd name="connsiteX3" fmla="*/ 0 w 4545617"/>
              <a:gd name="connsiteY3" fmla="*/ 2690121 h 2713271"/>
              <a:gd name="connsiteX4" fmla="*/ 509286 w 4545617"/>
              <a:gd name="connsiteY4" fmla="*/ 0 h 2713271"/>
              <a:gd name="connsiteX0" fmla="*/ 451413 w 4487744"/>
              <a:gd name="connsiteY0" fmla="*/ 0 h 3164683"/>
              <a:gd name="connsiteX1" fmla="*/ 4487744 w 4487744"/>
              <a:gd name="connsiteY1" fmla="*/ 0 h 3164683"/>
              <a:gd name="connsiteX2" fmla="*/ 4487744 w 4487744"/>
              <a:gd name="connsiteY2" fmla="*/ 2713271 h 3164683"/>
              <a:gd name="connsiteX3" fmla="*/ 0 w 4487744"/>
              <a:gd name="connsiteY3" fmla="*/ 3164683 h 3164683"/>
              <a:gd name="connsiteX4" fmla="*/ 451413 w 4487744"/>
              <a:gd name="connsiteY4" fmla="*/ 0 h 3164683"/>
              <a:gd name="connsiteX0" fmla="*/ 474562 w 4510893"/>
              <a:gd name="connsiteY0" fmla="*/ 0 h 2713271"/>
              <a:gd name="connsiteX1" fmla="*/ 4510893 w 4510893"/>
              <a:gd name="connsiteY1" fmla="*/ 0 h 2713271"/>
              <a:gd name="connsiteX2" fmla="*/ 4510893 w 4510893"/>
              <a:gd name="connsiteY2" fmla="*/ 2713271 h 2713271"/>
              <a:gd name="connsiteX3" fmla="*/ 0 w 4510893"/>
              <a:gd name="connsiteY3" fmla="*/ 2713270 h 2713271"/>
              <a:gd name="connsiteX4" fmla="*/ 474562 w 4510893"/>
              <a:gd name="connsiteY4" fmla="*/ 0 h 2713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0893" h="2713271">
                <a:moveTo>
                  <a:pt x="474562" y="0"/>
                </a:moveTo>
                <a:lnTo>
                  <a:pt x="4510893" y="0"/>
                </a:lnTo>
                <a:lnTo>
                  <a:pt x="4510893" y="2713271"/>
                </a:lnTo>
                <a:lnTo>
                  <a:pt x="0" y="2713270"/>
                </a:lnTo>
                <a:lnTo>
                  <a:pt x="474562" y="0"/>
                </a:lnTo>
                <a:close/>
              </a:path>
            </a:pathLst>
          </a:custGeo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
        <p:nvSpPr>
          <p:cNvPr id="2" name="Holder 2"/>
          <p:cNvSpPr>
            <a:spLocks noGrp="1"/>
          </p:cNvSpPr>
          <p:nvPr>
            <p:ph type="title" hasCustomPrompt="1"/>
          </p:nvPr>
        </p:nvSpPr>
        <p:spPr>
          <a:xfrm>
            <a:off x="5304120" y="587835"/>
            <a:ext cx="6399316"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dirty="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12" name="Content Placeholder 5"/>
          <p:cNvSpPr>
            <a:spLocks noGrp="1"/>
          </p:cNvSpPr>
          <p:nvPr>
            <p:ph sz="quarter" idx="12" hasCustomPrompt="1"/>
          </p:nvPr>
        </p:nvSpPr>
        <p:spPr>
          <a:xfrm>
            <a:off x="604799" y="4215990"/>
            <a:ext cx="6201115" cy="1782501"/>
          </a:xfrm>
          <a:prstGeom prst="rect">
            <a:avLst/>
          </a:prstGeom>
        </p:spPr>
        <p:txBody>
          <a:bodyPr>
            <a:noAutofit/>
          </a:bodyPr>
          <a:lstStyle>
            <a:lvl1pPr>
              <a:spcBef>
                <a:spcPts val="0"/>
              </a:spcBef>
              <a:spcAft>
                <a:spcPts val="600"/>
              </a:spcAft>
              <a:defRPr>
                <a:solidFill>
                  <a:schemeClr val="tx1"/>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dirty="0"/>
              <a:t>Insert text</a:t>
            </a:r>
          </a:p>
          <a:p>
            <a:pPr lvl="1"/>
            <a:r>
              <a:rPr lang="en-GB" noProof="0" dirty="0"/>
              <a:t>Insert text</a:t>
            </a:r>
          </a:p>
        </p:txBody>
      </p:sp>
      <p:sp>
        <p:nvSpPr>
          <p:cNvPr id="11" name="Tijdelijke aanduiding voor afbeelding 5">
            <a:extLst>
              <a:ext uri="{FF2B5EF4-FFF2-40B4-BE49-F238E27FC236}">
                <a16:creationId xmlns:a16="http://schemas.microsoft.com/office/drawing/2014/main" id="{A8D7B74A-7566-9841-8E63-ABC210395549}"/>
              </a:ext>
            </a:extLst>
          </p:cNvPr>
          <p:cNvSpPr>
            <a:spLocks noGrp="1"/>
          </p:cNvSpPr>
          <p:nvPr>
            <p:ph type="pic" sz="quarter" idx="16" hasCustomPrompt="1"/>
          </p:nvPr>
        </p:nvSpPr>
        <p:spPr>
          <a:xfrm>
            <a:off x="0" y="513906"/>
            <a:ext cx="5069394" cy="2741969"/>
          </a:xfrm>
          <a:custGeom>
            <a:avLst/>
            <a:gdLst>
              <a:gd name="connsiteX0" fmla="*/ 0 w 4036331"/>
              <a:gd name="connsiteY0" fmla="*/ 0 h 2741969"/>
              <a:gd name="connsiteX1" fmla="*/ 4036331 w 4036331"/>
              <a:gd name="connsiteY1" fmla="*/ 0 h 2741969"/>
              <a:gd name="connsiteX2" fmla="*/ 4036331 w 4036331"/>
              <a:gd name="connsiteY2" fmla="*/ 2741969 h 2741969"/>
              <a:gd name="connsiteX3" fmla="*/ 0 w 4036331"/>
              <a:gd name="connsiteY3" fmla="*/ 2741969 h 2741969"/>
              <a:gd name="connsiteX4" fmla="*/ 0 w 4036331"/>
              <a:gd name="connsiteY4" fmla="*/ 0 h 2741969"/>
              <a:gd name="connsiteX0" fmla="*/ 0 w 4464594"/>
              <a:gd name="connsiteY0" fmla="*/ 0 h 2741969"/>
              <a:gd name="connsiteX1" fmla="*/ 4036331 w 4464594"/>
              <a:gd name="connsiteY1" fmla="*/ 0 h 2741969"/>
              <a:gd name="connsiteX2" fmla="*/ 4464594 w 4464594"/>
              <a:gd name="connsiteY2" fmla="*/ 2741969 h 2741969"/>
              <a:gd name="connsiteX3" fmla="*/ 0 w 4464594"/>
              <a:gd name="connsiteY3" fmla="*/ 2741969 h 2741969"/>
              <a:gd name="connsiteX4" fmla="*/ 0 w 4464594"/>
              <a:gd name="connsiteY4" fmla="*/ 0 h 2741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4594" h="2741969">
                <a:moveTo>
                  <a:pt x="0" y="0"/>
                </a:moveTo>
                <a:lnTo>
                  <a:pt x="4036331" y="0"/>
                </a:lnTo>
                <a:lnTo>
                  <a:pt x="4464594" y="2741969"/>
                </a:lnTo>
                <a:lnTo>
                  <a:pt x="0" y="2741969"/>
                </a:lnTo>
                <a:lnTo>
                  <a:pt x="0" y="0"/>
                </a:lnTo>
                <a:close/>
              </a:path>
            </a:pathLst>
          </a:custGeo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
        <p:nvSpPr>
          <p:cNvPr id="10" name="Content Placeholder 5">
            <a:extLst>
              <a:ext uri="{FF2B5EF4-FFF2-40B4-BE49-F238E27FC236}">
                <a16:creationId xmlns:a16="http://schemas.microsoft.com/office/drawing/2014/main" id="{FBB10F99-DC50-874B-9BB7-C039F5CC51DA}"/>
              </a:ext>
            </a:extLst>
          </p:cNvPr>
          <p:cNvSpPr>
            <a:spLocks noGrp="1"/>
          </p:cNvSpPr>
          <p:nvPr>
            <p:ph sz="quarter" idx="18" hasCustomPrompt="1"/>
          </p:nvPr>
        </p:nvSpPr>
        <p:spPr>
          <a:xfrm>
            <a:off x="5304120" y="1208744"/>
            <a:ext cx="6399316" cy="1981200"/>
          </a:xfrm>
          <a:prstGeom prst="rect">
            <a:avLst/>
          </a:prstGeom>
        </p:spPr>
        <p:txBody>
          <a:bodyPr>
            <a:noAutofit/>
          </a:bodyPr>
          <a:lstStyle>
            <a:lvl1pPr>
              <a:spcBef>
                <a:spcPts val="0"/>
              </a:spcBef>
              <a:spcAft>
                <a:spcPts val="600"/>
              </a:spcAft>
              <a:defRPr>
                <a:solidFill>
                  <a:schemeClr val="tx1"/>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dirty="0"/>
              <a:t>Insert text</a:t>
            </a:r>
          </a:p>
          <a:p>
            <a:pPr lvl="1"/>
            <a:r>
              <a:rPr lang="en-GB" noProof="0" dirty="0"/>
              <a:t>Insert text</a:t>
            </a:r>
          </a:p>
        </p:txBody>
      </p:sp>
      <p:sp>
        <p:nvSpPr>
          <p:cNvPr id="15" name="Content Placeholder 5">
            <a:extLst>
              <a:ext uri="{FF2B5EF4-FFF2-40B4-BE49-F238E27FC236}">
                <a16:creationId xmlns:a16="http://schemas.microsoft.com/office/drawing/2014/main" id="{90D881C1-6D36-B949-95CB-F9F13BF8737A}"/>
              </a:ext>
            </a:extLst>
          </p:cNvPr>
          <p:cNvSpPr>
            <a:spLocks noGrp="1"/>
          </p:cNvSpPr>
          <p:nvPr>
            <p:ph sz="quarter" idx="20" hasCustomPrompt="1"/>
          </p:nvPr>
        </p:nvSpPr>
        <p:spPr>
          <a:xfrm>
            <a:off x="604799" y="3610580"/>
            <a:ext cx="6201115" cy="346249"/>
          </a:xfrm>
          <a:prstGeom prst="rect">
            <a:avLst/>
          </a:prstGeom>
        </p:spPr>
        <p:txBody>
          <a:bodyPr anchor="b">
            <a:noAutofit/>
          </a:bodyPr>
          <a:lstStyle>
            <a:lvl1pPr marL="0" indent="0">
              <a:spcBef>
                <a:spcPts val="0"/>
              </a:spcBef>
              <a:spcAft>
                <a:spcPts val="600"/>
              </a:spcAft>
              <a:buFontTx/>
              <a:buNone/>
              <a:defRPr sz="2500">
                <a:solidFill>
                  <a:schemeClr val="accent5"/>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dirty="0"/>
              <a:t>Insert title</a:t>
            </a:r>
          </a:p>
        </p:txBody>
      </p:sp>
    </p:spTree>
    <p:extLst>
      <p:ext uri="{BB962C8B-B14F-4D97-AF65-F5344CB8AC3E}">
        <p14:creationId xmlns:p14="http://schemas.microsoft.com/office/powerpoint/2010/main" val="24542185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 title, subtitle, summary">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2" name="Content Placeholder 5"/>
          <p:cNvSpPr>
            <a:spLocks noGrp="1"/>
          </p:cNvSpPr>
          <p:nvPr>
            <p:ph sz="quarter" idx="12" hasCustomPrompt="1"/>
          </p:nvPr>
        </p:nvSpPr>
        <p:spPr>
          <a:xfrm>
            <a:off x="604799" y="1997771"/>
            <a:ext cx="6587853" cy="3600000"/>
          </a:xfrm>
          <a:prstGeom prst="rect">
            <a:avLst/>
          </a:prstGeom>
        </p:spPr>
        <p:txBody>
          <a:bodyPr>
            <a:noAutofit/>
          </a:bodyPr>
          <a:lstStyle>
            <a:lvl1pPr>
              <a:spcBef>
                <a:spcPts val="0"/>
              </a:spcBef>
              <a:spcAft>
                <a:spcPts val="600"/>
              </a:spcAft>
              <a:defRPr>
                <a:solidFill>
                  <a:schemeClr val="tx1"/>
                </a:solidFill>
              </a:defRPr>
            </a:lvl1pPr>
            <a:lvl2pPr>
              <a:spcBef>
                <a:spcPts val="0"/>
              </a:spcBef>
              <a:spcAft>
                <a:spcPts val="600"/>
              </a:spcAft>
              <a:buClr>
                <a:schemeClr val="accent2"/>
              </a:buClr>
              <a:defRPr>
                <a:solidFill>
                  <a:schemeClr val="tx1"/>
                </a:solidFill>
              </a:defRPr>
            </a:lvl2pPr>
            <a:lvl3pPr>
              <a:spcBef>
                <a:spcPts val="400"/>
              </a:spcBef>
              <a:spcAft>
                <a:spcPts val="400"/>
              </a:spcAft>
              <a:defRPr/>
            </a:lvl3pPr>
          </a:lstStyle>
          <a:p>
            <a:pPr lvl="0"/>
            <a:r>
              <a:rPr lang="en-GB" noProof="0"/>
              <a:t>Insert text</a:t>
            </a:r>
          </a:p>
          <a:p>
            <a:pPr lvl="1"/>
            <a:r>
              <a:rPr lang="en-GB" noProof="0"/>
              <a:t>Insert text</a:t>
            </a:r>
          </a:p>
        </p:txBody>
      </p:sp>
      <p:sp>
        <p:nvSpPr>
          <p:cNvPr id="6" name="Tijdelijke aanduiding voor tekst 4">
            <a:extLst>
              <a:ext uri="{FF2B5EF4-FFF2-40B4-BE49-F238E27FC236}">
                <a16:creationId xmlns:a16="http://schemas.microsoft.com/office/drawing/2014/main" id="{35A172F8-CC6B-BC41-B0F3-59970F7E8B16}"/>
              </a:ext>
            </a:extLst>
          </p:cNvPr>
          <p:cNvSpPr>
            <a:spLocks noGrp="1"/>
          </p:cNvSpPr>
          <p:nvPr>
            <p:ph type="body" sz="quarter" idx="11" hasCustomPrompt="1"/>
          </p:nvPr>
        </p:nvSpPr>
        <p:spPr>
          <a:xfrm>
            <a:off x="7678938" y="1998003"/>
            <a:ext cx="3905861" cy="433553"/>
          </a:xfrm>
          <a:prstGeom prst="rect">
            <a:avLst/>
          </a:prstGeom>
          <a:solidFill>
            <a:schemeClr val="accent4"/>
          </a:solidFill>
          <a:ln w="25400">
            <a:solidFill>
              <a:schemeClr val="accent4"/>
            </a:solidFill>
          </a:ln>
        </p:spPr>
        <p:txBody>
          <a:bodyPr wrap="square" lIns="180000" tIns="108000" rIns="108000" bIns="108000" anchor="ctr">
            <a:spAutoFit/>
          </a:bodyPr>
          <a:lstStyle>
            <a:lvl1pPr marL="0" marR="0" indent="0" algn="l" defTabSz="914400" eaLnBrk="1" fontAlgn="auto" latinLnBrk="0" hangingPunct="1">
              <a:lnSpc>
                <a:spcPct val="100000"/>
              </a:lnSpc>
              <a:spcBef>
                <a:spcPts val="1800"/>
              </a:spcBef>
              <a:spcAft>
                <a:spcPts val="1800"/>
              </a:spcAft>
              <a:buClrTx/>
              <a:buSzTx/>
              <a:buFontTx/>
              <a:buNone/>
              <a:tabLst/>
              <a:defRPr sz="1400" b="1" cap="none" baseline="0">
                <a:solidFill>
                  <a:schemeClr val="bg1"/>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itle</a:t>
            </a:r>
          </a:p>
        </p:txBody>
      </p:sp>
      <p:sp>
        <p:nvSpPr>
          <p:cNvPr id="8" name="Tijdelijke aanduiding voor tekst 4">
            <a:extLst>
              <a:ext uri="{FF2B5EF4-FFF2-40B4-BE49-F238E27FC236}">
                <a16:creationId xmlns:a16="http://schemas.microsoft.com/office/drawing/2014/main" id="{A67FAF35-E8D9-2F4F-B8BE-BB0A3B02972E}"/>
              </a:ext>
            </a:extLst>
          </p:cNvPr>
          <p:cNvSpPr>
            <a:spLocks noGrp="1"/>
          </p:cNvSpPr>
          <p:nvPr>
            <p:ph type="body" sz="quarter" idx="13" hasCustomPrompt="1"/>
          </p:nvPr>
        </p:nvSpPr>
        <p:spPr>
          <a:xfrm>
            <a:off x="7678938" y="2431556"/>
            <a:ext cx="3905861" cy="674200"/>
          </a:xfrm>
          <a:prstGeom prst="rect">
            <a:avLst/>
          </a:prstGeom>
          <a:noFill/>
          <a:ln w="25400">
            <a:solidFill>
              <a:schemeClr val="accent4"/>
            </a:solidFill>
          </a:ln>
        </p:spPr>
        <p:txBody>
          <a:bodyPr wrap="square" lIns="180000" tIns="180000" rIns="180000" bIns="0" anchor="t">
            <a:spAutoFit/>
          </a:bodyPr>
          <a:lstStyle>
            <a:lvl1pPr marL="0" marR="0" indent="0" algn="l" defTabSz="914400" eaLnBrk="1" fontAlgn="auto" latinLnBrk="0" hangingPunct="1">
              <a:lnSpc>
                <a:spcPct val="100000"/>
              </a:lnSpc>
              <a:spcBef>
                <a:spcPts val="1800"/>
              </a:spcBef>
              <a:spcAft>
                <a:spcPts val="1800"/>
              </a:spcAft>
              <a:buClrTx/>
              <a:buSzTx/>
              <a:buFontTx/>
              <a:buNone/>
              <a:tabLst/>
              <a:defRPr sz="1600" b="0" baseline="0">
                <a:solidFill>
                  <a:schemeClr val="accent2">
                    <a:lumMod val="75000"/>
                  </a:schemeClr>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ext</a:t>
            </a:r>
          </a:p>
          <a:p>
            <a:pPr marL="0" marR="0" lvl="0" indent="0" defTabSz="914400" eaLnBrk="1" fontAlgn="auto" latinLnBrk="0" hangingPunct="1">
              <a:lnSpc>
                <a:spcPct val="100000"/>
              </a:lnSpc>
              <a:spcBef>
                <a:spcPts val="0"/>
              </a:spcBef>
              <a:spcAft>
                <a:spcPts val="0"/>
              </a:spcAft>
              <a:buClrTx/>
              <a:buSzTx/>
              <a:buFontTx/>
              <a:buNone/>
              <a:tabLst/>
              <a:defRPr/>
            </a:pPr>
            <a:endParaRPr lang="en-GB" noProof="0"/>
          </a:p>
        </p:txBody>
      </p:sp>
    </p:spTree>
    <p:extLst>
      <p:ext uri="{BB962C8B-B14F-4D97-AF65-F5344CB8AC3E}">
        <p14:creationId xmlns:p14="http://schemas.microsoft.com/office/powerpoint/2010/main" val="30913401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 title, subtitle, summary 2">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6" name="Tijdelijke aanduiding voor tekst 4">
            <a:extLst>
              <a:ext uri="{FF2B5EF4-FFF2-40B4-BE49-F238E27FC236}">
                <a16:creationId xmlns:a16="http://schemas.microsoft.com/office/drawing/2014/main" id="{35A172F8-CC6B-BC41-B0F3-59970F7E8B16}"/>
              </a:ext>
            </a:extLst>
          </p:cNvPr>
          <p:cNvSpPr>
            <a:spLocks noGrp="1"/>
          </p:cNvSpPr>
          <p:nvPr>
            <p:ph type="body" sz="quarter" idx="11" hasCustomPrompt="1"/>
          </p:nvPr>
        </p:nvSpPr>
        <p:spPr>
          <a:xfrm>
            <a:off x="6457362" y="1998003"/>
            <a:ext cx="5127438" cy="433553"/>
          </a:xfrm>
          <a:prstGeom prst="rect">
            <a:avLst/>
          </a:prstGeom>
          <a:solidFill>
            <a:schemeClr val="accent3"/>
          </a:solidFill>
          <a:ln w="25400">
            <a:solidFill>
              <a:schemeClr val="accent3"/>
            </a:solidFill>
          </a:ln>
        </p:spPr>
        <p:txBody>
          <a:bodyPr wrap="square" lIns="180000" tIns="108000" rIns="108000" bIns="108000" anchor="ctr">
            <a:spAutoFit/>
          </a:bodyPr>
          <a:lstStyle>
            <a:lvl1pPr marL="0" marR="0" indent="0" algn="l" defTabSz="914400" eaLnBrk="1" fontAlgn="auto" latinLnBrk="0" hangingPunct="1">
              <a:lnSpc>
                <a:spcPct val="100000"/>
              </a:lnSpc>
              <a:spcBef>
                <a:spcPts val="1800"/>
              </a:spcBef>
              <a:spcAft>
                <a:spcPts val="1800"/>
              </a:spcAft>
              <a:buClrTx/>
              <a:buSzTx/>
              <a:buFontTx/>
              <a:buNone/>
              <a:tabLst/>
              <a:defRPr sz="1400" b="1" cap="none" baseline="0">
                <a:solidFill>
                  <a:schemeClr val="bg1"/>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itle</a:t>
            </a:r>
          </a:p>
        </p:txBody>
      </p:sp>
      <p:sp>
        <p:nvSpPr>
          <p:cNvPr id="8" name="Tijdelijke aanduiding voor tekst 4">
            <a:extLst>
              <a:ext uri="{FF2B5EF4-FFF2-40B4-BE49-F238E27FC236}">
                <a16:creationId xmlns:a16="http://schemas.microsoft.com/office/drawing/2014/main" id="{A67FAF35-E8D9-2F4F-B8BE-BB0A3B02972E}"/>
              </a:ext>
            </a:extLst>
          </p:cNvPr>
          <p:cNvSpPr>
            <a:spLocks noGrp="1"/>
          </p:cNvSpPr>
          <p:nvPr>
            <p:ph type="body" sz="quarter" idx="13" hasCustomPrompt="1"/>
          </p:nvPr>
        </p:nvSpPr>
        <p:spPr>
          <a:xfrm>
            <a:off x="6457362" y="2431556"/>
            <a:ext cx="5127438" cy="674200"/>
          </a:xfrm>
          <a:prstGeom prst="rect">
            <a:avLst/>
          </a:prstGeom>
          <a:noFill/>
          <a:ln w="25400">
            <a:solidFill>
              <a:schemeClr val="accent3"/>
            </a:solidFill>
          </a:ln>
        </p:spPr>
        <p:txBody>
          <a:bodyPr wrap="square" lIns="180000" tIns="180000" rIns="180000" bIns="0" anchor="t">
            <a:spAutoFit/>
          </a:bodyPr>
          <a:lstStyle>
            <a:lvl1pPr marL="0" marR="0" indent="0" algn="l" defTabSz="914400" eaLnBrk="1" fontAlgn="auto" latinLnBrk="0" hangingPunct="1">
              <a:lnSpc>
                <a:spcPct val="100000"/>
              </a:lnSpc>
              <a:spcBef>
                <a:spcPts val="1800"/>
              </a:spcBef>
              <a:spcAft>
                <a:spcPts val="1800"/>
              </a:spcAft>
              <a:buClrTx/>
              <a:buSzTx/>
              <a:buFontTx/>
              <a:buNone/>
              <a:tabLst/>
              <a:defRPr sz="1600" b="0" baseline="0">
                <a:solidFill>
                  <a:schemeClr val="tx1"/>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ext</a:t>
            </a:r>
          </a:p>
          <a:p>
            <a:pPr marL="0" marR="0" lvl="0" indent="0" defTabSz="914400" eaLnBrk="1" fontAlgn="auto" latinLnBrk="0" hangingPunct="1">
              <a:lnSpc>
                <a:spcPct val="100000"/>
              </a:lnSpc>
              <a:spcBef>
                <a:spcPts val="0"/>
              </a:spcBef>
              <a:spcAft>
                <a:spcPts val="0"/>
              </a:spcAft>
              <a:buClrTx/>
              <a:buSzTx/>
              <a:buFontTx/>
              <a:buNone/>
              <a:tabLst/>
              <a:defRPr/>
            </a:pPr>
            <a:endParaRPr lang="en-GB" noProof="0"/>
          </a:p>
        </p:txBody>
      </p:sp>
      <p:sp>
        <p:nvSpPr>
          <p:cNvPr id="10" name="Tijdelijke aanduiding voor tekst 4">
            <a:extLst>
              <a:ext uri="{FF2B5EF4-FFF2-40B4-BE49-F238E27FC236}">
                <a16:creationId xmlns:a16="http://schemas.microsoft.com/office/drawing/2014/main" id="{DB87BC8B-13DD-D741-A1B3-0DDBC517C898}"/>
              </a:ext>
            </a:extLst>
          </p:cNvPr>
          <p:cNvSpPr>
            <a:spLocks noGrp="1"/>
          </p:cNvSpPr>
          <p:nvPr>
            <p:ph type="body" sz="quarter" idx="14" hasCustomPrompt="1"/>
          </p:nvPr>
        </p:nvSpPr>
        <p:spPr>
          <a:xfrm>
            <a:off x="604799" y="1998003"/>
            <a:ext cx="5127438" cy="433553"/>
          </a:xfrm>
          <a:prstGeom prst="rect">
            <a:avLst/>
          </a:prstGeom>
          <a:solidFill>
            <a:schemeClr val="accent1"/>
          </a:solidFill>
          <a:ln w="25400">
            <a:solidFill>
              <a:schemeClr val="accent1"/>
            </a:solidFill>
          </a:ln>
        </p:spPr>
        <p:txBody>
          <a:bodyPr wrap="square" lIns="180000" tIns="108000" rIns="108000" bIns="108000" anchor="ctr">
            <a:spAutoFit/>
          </a:bodyPr>
          <a:lstStyle>
            <a:lvl1pPr marL="0" marR="0" indent="0" algn="l" defTabSz="914400" eaLnBrk="1" fontAlgn="auto" latinLnBrk="0" hangingPunct="1">
              <a:lnSpc>
                <a:spcPct val="100000"/>
              </a:lnSpc>
              <a:spcBef>
                <a:spcPts val="1800"/>
              </a:spcBef>
              <a:spcAft>
                <a:spcPts val="1800"/>
              </a:spcAft>
              <a:buClrTx/>
              <a:buSzTx/>
              <a:buFontTx/>
              <a:buNone/>
              <a:tabLst/>
              <a:defRPr sz="1400" b="1" cap="none" baseline="0">
                <a:solidFill>
                  <a:schemeClr val="bg1"/>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itle</a:t>
            </a:r>
          </a:p>
        </p:txBody>
      </p:sp>
      <p:sp>
        <p:nvSpPr>
          <p:cNvPr id="11" name="Tijdelijke aanduiding voor tekst 4">
            <a:extLst>
              <a:ext uri="{FF2B5EF4-FFF2-40B4-BE49-F238E27FC236}">
                <a16:creationId xmlns:a16="http://schemas.microsoft.com/office/drawing/2014/main" id="{281F1975-F1E4-B64D-A0C9-7396801A961A}"/>
              </a:ext>
            </a:extLst>
          </p:cNvPr>
          <p:cNvSpPr>
            <a:spLocks noGrp="1"/>
          </p:cNvSpPr>
          <p:nvPr>
            <p:ph type="body" sz="quarter" idx="15" hasCustomPrompt="1"/>
          </p:nvPr>
        </p:nvSpPr>
        <p:spPr>
          <a:xfrm>
            <a:off x="604799" y="2431556"/>
            <a:ext cx="5127438" cy="674200"/>
          </a:xfrm>
          <a:prstGeom prst="rect">
            <a:avLst/>
          </a:prstGeom>
          <a:noFill/>
          <a:ln w="25400">
            <a:solidFill>
              <a:schemeClr val="accent1"/>
            </a:solidFill>
          </a:ln>
        </p:spPr>
        <p:txBody>
          <a:bodyPr wrap="square" lIns="180000" tIns="180000" rIns="180000" bIns="0" anchor="t">
            <a:spAutoFit/>
          </a:bodyPr>
          <a:lstStyle>
            <a:lvl1pPr marL="0" marR="0" indent="0" algn="l" defTabSz="914400" eaLnBrk="1" fontAlgn="auto" latinLnBrk="0" hangingPunct="1">
              <a:lnSpc>
                <a:spcPct val="100000"/>
              </a:lnSpc>
              <a:spcBef>
                <a:spcPts val="1800"/>
              </a:spcBef>
              <a:spcAft>
                <a:spcPts val="1800"/>
              </a:spcAft>
              <a:buClrTx/>
              <a:buSzTx/>
              <a:buFontTx/>
              <a:buNone/>
              <a:tabLst/>
              <a:defRPr sz="1600" b="0" baseline="0">
                <a:solidFill>
                  <a:schemeClr val="tx1"/>
                </a:solidFill>
              </a:defRPr>
            </a:lvl1pPr>
            <a:lvl2pPr marL="0" indent="-7938">
              <a:spcBef>
                <a:spcPts val="400"/>
              </a:spcBef>
              <a:tabLst/>
              <a:defRPr sz="1400">
                <a:solidFill>
                  <a:schemeClr val="bg1"/>
                </a:solidFill>
              </a:defRPr>
            </a:lvl2pPr>
            <a:lvl3pPr marL="7938" indent="0">
              <a:tabLst/>
              <a:defRPr sz="1400">
                <a:solidFill>
                  <a:schemeClr val="bg1"/>
                </a:solidFill>
              </a:defRPr>
            </a:lvl3pPr>
            <a:lvl4pPr>
              <a:defRPr sz="1400">
                <a:solidFill>
                  <a:schemeClr val="bg1"/>
                </a:solidFill>
              </a:defRPr>
            </a:lvl4pPr>
            <a:lvl5pPr>
              <a:defRPr sz="1400">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noProof="0"/>
              <a:t>Insert text</a:t>
            </a:r>
          </a:p>
          <a:p>
            <a:pPr marL="0" marR="0" lvl="0" indent="0" defTabSz="914400" eaLnBrk="1" fontAlgn="auto" latinLnBrk="0" hangingPunct="1">
              <a:lnSpc>
                <a:spcPct val="100000"/>
              </a:lnSpc>
              <a:spcBef>
                <a:spcPts val="0"/>
              </a:spcBef>
              <a:spcAft>
                <a:spcPts val="0"/>
              </a:spcAft>
              <a:buClrTx/>
              <a:buSzTx/>
              <a:buFontTx/>
              <a:buNone/>
              <a:tabLst/>
              <a:defRPr/>
            </a:pPr>
            <a:endParaRPr lang="en-GB" noProof="0"/>
          </a:p>
        </p:txBody>
      </p:sp>
    </p:spTree>
    <p:extLst>
      <p:ext uri="{BB962C8B-B14F-4D97-AF65-F5344CB8AC3E}">
        <p14:creationId xmlns:p14="http://schemas.microsoft.com/office/powerpoint/2010/main" val="18417792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 title, subtitle, summary 2">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2" name="Tijdelijke aanduiding voor tekst 8">
            <a:extLst>
              <a:ext uri="{FF2B5EF4-FFF2-40B4-BE49-F238E27FC236}">
                <a16:creationId xmlns:a16="http://schemas.microsoft.com/office/drawing/2014/main" id="{593A139E-826D-3B47-A61C-A75D980BDE16}"/>
              </a:ext>
            </a:extLst>
          </p:cNvPr>
          <p:cNvSpPr>
            <a:spLocks noGrp="1"/>
          </p:cNvSpPr>
          <p:nvPr>
            <p:ph type="body" sz="quarter" idx="11" hasCustomPrompt="1"/>
          </p:nvPr>
        </p:nvSpPr>
        <p:spPr>
          <a:xfrm>
            <a:off x="604800" y="1871278"/>
            <a:ext cx="4900237" cy="246221"/>
          </a:xfrm>
          <a:prstGeom prst="rect">
            <a:avLst/>
          </a:prstGeom>
          <a:ln w="22225" cmpd="thickThin">
            <a:noFill/>
            <a:prstDash val="dash"/>
            <a:miter lim="800000"/>
          </a:ln>
        </p:spPr>
        <p:txBody>
          <a:bodyPr anchor="b">
            <a:noAutofit/>
          </a:bodyPr>
          <a:lstStyle>
            <a:lvl1pPr marL="0" indent="0">
              <a:buNone/>
              <a:defRPr sz="1600" b="1">
                <a:solidFill>
                  <a:srgbClr val="DC4405"/>
                </a:solidFill>
              </a:defRPr>
            </a:lvl1pPr>
          </a:lstStyle>
          <a:p>
            <a:pPr lvl="0"/>
            <a:r>
              <a:rPr lang="en-GB" noProof="0"/>
              <a:t>Insert title</a:t>
            </a:r>
          </a:p>
        </p:txBody>
      </p:sp>
      <p:sp>
        <p:nvSpPr>
          <p:cNvPr id="13" name="Tijdelijke aanduiding voor tekst 8">
            <a:extLst>
              <a:ext uri="{FF2B5EF4-FFF2-40B4-BE49-F238E27FC236}">
                <a16:creationId xmlns:a16="http://schemas.microsoft.com/office/drawing/2014/main" id="{8607EA46-E21C-4D49-BE47-0103189F2500}"/>
              </a:ext>
            </a:extLst>
          </p:cNvPr>
          <p:cNvSpPr>
            <a:spLocks noGrp="1"/>
          </p:cNvSpPr>
          <p:nvPr>
            <p:ph type="body" sz="quarter" idx="12" hasCustomPrompt="1"/>
          </p:nvPr>
        </p:nvSpPr>
        <p:spPr>
          <a:xfrm>
            <a:off x="6667628" y="1871278"/>
            <a:ext cx="4917171" cy="246221"/>
          </a:xfrm>
          <a:prstGeom prst="rect">
            <a:avLst/>
          </a:prstGeom>
          <a:ln w="22225" cmpd="thickThin">
            <a:noFill/>
            <a:prstDash val="dash"/>
            <a:miter lim="800000"/>
          </a:ln>
        </p:spPr>
        <p:txBody>
          <a:bodyPr anchor="b">
            <a:noAutofit/>
          </a:bodyPr>
          <a:lstStyle>
            <a:lvl1pPr marL="0" indent="0">
              <a:buNone/>
              <a:defRPr sz="1600" b="1">
                <a:solidFill>
                  <a:srgbClr val="DC4405"/>
                </a:solidFill>
              </a:defRPr>
            </a:lvl1pPr>
          </a:lstStyle>
          <a:p>
            <a:pPr lvl="0"/>
            <a:r>
              <a:rPr lang="en-GB" noProof="0"/>
              <a:t>Insert title</a:t>
            </a:r>
          </a:p>
        </p:txBody>
      </p:sp>
      <p:sp>
        <p:nvSpPr>
          <p:cNvPr id="14" name="Content Placeholder 4">
            <a:extLst>
              <a:ext uri="{FF2B5EF4-FFF2-40B4-BE49-F238E27FC236}">
                <a16:creationId xmlns:a16="http://schemas.microsoft.com/office/drawing/2014/main" id="{FD344C90-BEC2-6A4C-966D-B6ACABF9EF1A}"/>
              </a:ext>
            </a:extLst>
          </p:cNvPr>
          <p:cNvSpPr>
            <a:spLocks noGrp="1" noChangeAspect="1"/>
          </p:cNvSpPr>
          <p:nvPr>
            <p:ph sz="quarter" idx="21" hasCustomPrompt="1"/>
          </p:nvPr>
        </p:nvSpPr>
        <p:spPr>
          <a:xfrm>
            <a:off x="604799" y="2323158"/>
            <a:ext cx="4899600" cy="3599118"/>
          </a:xfrm>
          <a:prstGeom prst="rect">
            <a:avLst/>
          </a:prstGeom>
        </p:spPr>
        <p:txBody>
          <a:bodyPr>
            <a:noAutofit/>
          </a:bodyPr>
          <a:lstStyle>
            <a:lvl1pPr>
              <a:defRPr sz="1800">
                <a:solidFill>
                  <a:schemeClr val="tx1"/>
                </a:solidFill>
              </a:defRPr>
            </a:lvl1pPr>
          </a:lstStyle>
          <a:p>
            <a:pPr lvl="0"/>
            <a:r>
              <a:rPr lang="en-GB" noProof="0"/>
              <a:t>Insert text</a:t>
            </a:r>
          </a:p>
        </p:txBody>
      </p:sp>
      <p:sp>
        <p:nvSpPr>
          <p:cNvPr id="15" name="Content Placeholder 4">
            <a:extLst>
              <a:ext uri="{FF2B5EF4-FFF2-40B4-BE49-F238E27FC236}">
                <a16:creationId xmlns:a16="http://schemas.microsoft.com/office/drawing/2014/main" id="{43CE5B79-FC4F-CC42-826F-6BDB87CC0998}"/>
              </a:ext>
            </a:extLst>
          </p:cNvPr>
          <p:cNvSpPr>
            <a:spLocks noGrp="1"/>
          </p:cNvSpPr>
          <p:nvPr>
            <p:ph sz="quarter" idx="22" hasCustomPrompt="1"/>
          </p:nvPr>
        </p:nvSpPr>
        <p:spPr>
          <a:xfrm>
            <a:off x="6667628" y="2322276"/>
            <a:ext cx="4900800" cy="3600000"/>
          </a:xfrm>
          <a:prstGeom prst="rect">
            <a:avLst/>
          </a:prstGeom>
        </p:spPr>
        <p:txBody>
          <a:bodyPr>
            <a:noAutofit/>
          </a:bodyPr>
          <a:lstStyle>
            <a:lvl1pPr>
              <a:defRPr sz="1800">
                <a:solidFill>
                  <a:schemeClr val="tx1"/>
                </a:solidFill>
              </a:defRPr>
            </a:lvl1pPr>
          </a:lstStyle>
          <a:p>
            <a:pPr lvl="0"/>
            <a:r>
              <a:rPr lang="en-GB" noProof="0"/>
              <a:t>Insert text</a:t>
            </a:r>
          </a:p>
        </p:txBody>
      </p:sp>
      <p:cxnSp>
        <p:nvCxnSpPr>
          <p:cNvPr id="16" name="Straight Connector 3">
            <a:extLst>
              <a:ext uri="{FF2B5EF4-FFF2-40B4-BE49-F238E27FC236}">
                <a16:creationId xmlns:a16="http://schemas.microsoft.com/office/drawing/2014/main" id="{F240B5C3-6878-B544-9609-00F60E6D38EF}"/>
              </a:ext>
            </a:extLst>
          </p:cNvPr>
          <p:cNvCxnSpPr/>
          <p:nvPr userDrawn="1"/>
        </p:nvCxnSpPr>
        <p:spPr>
          <a:xfrm>
            <a:off x="604800" y="2216782"/>
            <a:ext cx="4900237"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7" name="Straight Connector 12">
            <a:extLst>
              <a:ext uri="{FF2B5EF4-FFF2-40B4-BE49-F238E27FC236}">
                <a16:creationId xmlns:a16="http://schemas.microsoft.com/office/drawing/2014/main" id="{4846543D-0B9A-864F-9956-057AA2402062}"/>
              </a:ext>
            </a:extLst>
          </p:cNvPr>
          <p:cNvCxnSpPr/>
          <p:nvPr userDrawn="1"/>
        </p:nvCxnSpPr>
        <p:spPr>
          <a:xfrm>
            <a:off x="6668215" y="2216782"/>
            <a:ext cx="4900237"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064613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ntent - title, subtitle, summary 2">
    <p:spTree>
      <p:nvGrpSpPr>
        <p:cNvPr id="1" name=""/>
        <p:cNvGrpSpPr/>
        <p:nvPr/>
      </p:nvGrpSpPr>
      <p:grpSpPr>
        <a:xfrm>
          <a:off x="0" y="0"/>
          <a:ext cx="0" cy="0"/>
          <a:chOff x="0" y="0"/>
          <a:chExt cx="0" cy="0"/>
        </a:xfrm>
      </p:grpSpPr>
      <p:sp>
        <p:nvSpPr>
          <p:cNvPr id="8" name="Tijdelijke aanduiding voor afbeelding 5">
            <a:extLst>
              <a:ext uri="{FF2B5EF4-FFF2-40B4-BE49-F238E27FC236}">
                <a16:creationId xmlns:a16="http://schemas.microsoft.com/office/drawing/2014/main" id="{36FBBFC3-5DEB-FF4D-84A6-1B39AB469F3F}"/>
              </a:ext>
            </a:extLst>
          </p:cNvPr>
          <p:cNvSpPr>
            <a:spLocks noGrp="1"/>
          </p:cNvSpPr>
          <p:nvPr>
            <p:ph type="pic" sz="quarter" idx="16" hasCustomPrompt="1"/>
          </p:nvPr>
        </p:nvSpPr>
        <p:spPr>
          <a:xfrm>
            <a:off x="6280297" y="1998000"/>
            <a:ext cx="5304501" cy="3603465"/>
          </a:xfr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8" name="Content Placeholder 3">
            <a:extLst>
              <a:ext uri="{FF2B5EF4-FFF2-40B4-BE49-F238E27FC236}">
                <a16:creationId xmlns:a16="http://schemas.microsoft.com/office/drawing/2014/main" id="{5F727EC6-A67E-5446-9D9D-1C65E7DF4629}"/>
              </a:ext>
            </a:extLst>
          </p:cNvPr>
          <p:cNvSpPr>
            <a:spLocks noGrp="1"/>
          </p:cNvSpPr>
          <p:nvPr>
            <p:ph sz="quarter" idx="13" hasCustomPrompt="1"/>
          </p:nvPr>
        </p:nvSpPr>
        <p:spPr>
          <a:xfrm>
            <a:off x="604799" y="1998000"/>
            <a:ext cx="5304501" cy="495108"/>
          </a:xfrm>
          <a:prstGeom prst="rect">
            <a:avLst/>
          </a:prstGeom>
          <a:noFill/>
          <a:ln w="25400">
            <a:solidFill>
              <a:srgbClr val="F6AA00"/>
            </a:solidFill>
          </a:ln>
        </p:spPr>
        <p:txBody>
          <a:bodyPr wrap="square" lIns="108000" tIns="108000" rIns="108000" bIns="108000">
            <a:spAutoFit/>
          </a:bodyPr>
          <a:lstStyle>
            <a:lvl1pPr>
              <a:defRPr>
                <a:solidFill>
                  <a:schemeClr val="tx1"/>
                </a:solidFill>
              </a:defRPr>
            </a:lvl1pPr>
            <a:lvl2pPr>
              <a:defRPr>
                <a:solidFill>
                  <a:schemeClr val="accent3"/>
                </a:solidFill>
              </a:defRPr>
            </a:lvl2pPr>
          </a:lstStyle>
          <a:p>
            <a:pPr lvl="0"/>
            <a:r>
              <a:rPr lang="en-GB" noProof="0"/>
              <a:t>Insert text</a:t>
            </a:r>
          </a:p>
        </p:txBody>
      </p:sp>
    </p:spTree>
    <p:extLst>
      <p:ext uri="{BB962C8B-B14F-4D97-AF65-F5344CB8AC3E}">
        <p14:creationId xmlns:p14="http://schemas.microsoft.com/office/powerpoint/2010/main" val="7478208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12" name="Tijdelijke aanduiding voor tabel 5">
            <a:extLst>
              <a:ext uri="{FF2B5EF4-FFF2-40B4-BE49-F238E27FC236}">
                <a16:creationId xmlns:a16="http://schemas.microsoft.com/office/drawing/2014/main" id="{78CC4C2D-4455-1D4E-96C8-71F3198CE2BA}"/>
              </a:ext>
            </a:extLst>
          </p:cNvPr>
          <p:cNvSpPr>
            <a:spLocks noGrp="1"/>
          </p:cNvSpPr>
          <p:nvPr>
            <p:ph type="tbl" sz="quarter" idx="13" hasCustomPrompt="1"/>
          </p:nvPr>
        </p:nvSpPr>
        <p:spPr>
          <a:xfrm>
            <a:off x="604799" y="1998000"/>
            <a:ext cx="10980000" cy="3899194"/>
          </a:xfrm>
          <a:prstGeom prst="rect">
            <a:avLst/>
          </a:prstGeom>
        </p:spPr>
        <p:txBody>
          <a:bodyPr tIns="540000">
            <a:noAutofit/>
          </a:bodyPr>
          <a:lstStyle>
            <a:lvl1pPr marL="0" indent="0" algn="ctr">
              <a:buNone/>
              <a:defRPr/>
            </a:lvl1pPr>
          </a:lstStyle>
          <a:p>
            <a:r>
              <a:rPr lang="en-GB" noProof="0"/>
              <a:t>Click to add a table</a:t>
            </a:r>
          </a:p>
        </p:txBody>
      </p:sp>
    </p:spTree>
    <p:extLst>
      <p:ext uri="{BB962C8B-B14F-4D97-AF65-F5344CB8AC3E}">
        <p14:creationId xmlns:p14="http://schemas.microsoft.com/office/powerpoint/2010/main" val="4246793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2" name="Holder 2"/>
          <p:cNvSpPr>
            <a:spLocks noGrp="1"/>
          </p:cNvSpPr>
          <p:nvPr>
            <p:ph type="title" hasCustomPrompt="1"/>
          </p:nvPr>
        </p:nvSpPr>
        <p:spPr>
          <a:xfrm>
            <a:off x="604799" y="687031"/>
            <a:ext cx="10980000" cy="346249"/>
          </a:xfrm>
        </p:spPr>
        <p:txBody>
          <a:bodyPr lIns="0" tIns="0" rIns="0" bIns="0" anchor="b">
            <a:noAutofit/>
          </a:bodyPr>
          <a:lstStyle>
            <a:lvl1pPr>
              <a:lnSpc>
                <a:spcPct val="90000"/>
              </a:lnSpc>
              <a:defRPr sz="2500" b="0" i="0" spc="0">
                <a:solidFill>
                  <a:srgbClr val="7C2855"/>
                </a:solidFill>
                <a:latin typeface="Arial Standaard" charset="0"/>
                <a:cs typeface="Arial Standaard" charset="0"/>
              </a:defRPr>
            </a:lvl1pPr>
          </a:lstStyle>
          <a:p>
            <a:r>
              <a:rPr lang="en-GB" noProof="0"/>
              <a:t>Insert title</a:t>
            </a:r>
          </a:p>
        </p:txBody>
      </p:sp>
      <p:sp>
        <p:nvSpPr>
          <p:cNvPr id="7" name="Holder 7"/>
          <p:cNvSpPr>
            <a:spLocks noGrp="1"/>
          </p:cNvSpPr>
          <p:nvPr>
            <p:ph type="sldNum" sz="quarter" idx="7"/>
          </p:nvPr>
        </p:nvSpPr>
        <p:spPr/>
        <p:txBody>
          <a:bodyPr lIns="0" tIns="0" rIns="0" bIns="0"/>
          <a:lstStyle>
            <a:lvl1pPr>
              <a:defRPr sz="1000" b="0" i="0">
                <a:solidFill>
                  <a:srgbClr val="75787A"/>
                </a:solidFill>
                <a:latin typeface="Arial"/>
                <a:cs typeface="Arial"/>
              </a:defRPr>
            </a:lvl1pPr>
          </a:lstStyle>
          <a:p>
            <a:pPr marL="25400">
              <a:lnSpc>
                <a:spcPts val="1110"/>
              </a:lnSpc>
            </a:pPr>
            <a:fld id="{81D60167-4931-47E6-BA6A-407CBD079E47}" type="slidenum">
              <a:rPr lang="uk-UA" smtClean="0"/>
              <a:pPr marL="25400">
                <a:lnSpc>
                  <a:spcPts val="1110"/>
                </a:lnSpc>
              </a:pPr>
              <a:t>‹nr.›</a:t>
            </a:fld>
            <a:endParaRPr lang="uk-UA" dirty="0"/>
          </a:p>
        </p:txBody>
      </p:sp>
      <p:sp>
        <p:nvSpPr>
          <p:cNvPr id="9" name="Tijdelijke aanduiding voor tekst 8"/>
          <p:cNvSpPr>
            <a:spLocks noGrp="1"/>
          </p:cNvSpPr>
          <p:nvPr>
            <p:ph type="body" sz="quarter" idx="10" hasCustomPrompt="1"/>
          </p:nvPr>
        </p:nvSpPr>
        <p:spPr>
          <a:xfrm>
            <a:off x="604799" y="1186774"/>
            <a:ext cx="10980000" cy="307777"/>
          </a:xfrm>
          <a:prstGeom prst="rect">
            <a:avLst/>
          </a:prstGeom>
        </p:spPr>
        <p:txBody>
          <a:bodyPr anchor="t">
            <a:noAutofit/>
          </a:bodyPr>
          <a:lstStyle>
            <a:lvl1pPr marL="0" indent="0">
              <a:buNone/>
              <a:defRPr sz="1800" b="0">
                <a:solidFill>
                  <a:srgbClr val="DC4405"/>
                </a:solidFill>
              </a:defRPr>
            </a:lvl1pPr>
          </a:lstStyle>
          <a:p>
            <a:pPr lvl="0"/>
            <a:r>
              <a:rPr lang="en-GB" noProof="0"/>
              <a:t>Insert subtitle</a:t>
            </a:r>
          </a:p>
        </p:txBody>
      </p:sp>
      <p:sp>
        <p:nvSpPr>
          <p:cNvPr id="6" name="Tijdelijke aanduiding voor grafiek 3">
            <a:extLst>
              <a:ext uri="{FF2B5EF4-FFF2-40B4-BE49-F238E27FC236}">
                <a16:creationId xmlns:a16="http://schemas.microsoft.com/office/drawing/2014/main" id="{48CD4FEB-CFAC-5C48-B672-80627954E006}"/>
              </a:ext>
            </a:extLst>
          </p:cNvPr>
          <p:cNvSpPr>
            <a:spLocks noGrp="1"/>
          </p:cNvSpPr>
          <p:nvPr>
            <p:ph type="chart" sz="quarter" idx="12" hasCustomPrompt="1"/>
          </p:nvPr>
        </p:nvSpPr>
        <p:spPr>
          <a:xfrm>
            <a:off x="604798" y="1998000"/>
            <a:ext cx="10905329" cy="3899193"/>
          </a:xfrm>
          <a:prstGeom prst="rect">
            <a:avLst/>
          </a:prstGeom>
        </p:spPr>
        <p:txBody>
          <a:bodyPr tIns="540000">
            <a:noAutofit/>
          </a:bodyPr>
          <a:lstStyle>
            <a:lvl1pPr marL="0" indent="0" algn="ctr">
              <a:buNone/>
              <a:defRPr/>
            </a:lvl1pPr>
          </a:lstStyle>
          <a:p>
            <a:r>
              <a:rPr lang="en-GB" noProof="0"/>
              <a:t>Click to add a graphic</a:t>
            </a:r>
          </a:p>
        </p:txBody>
      </p:sp>
    </p:spTree>
    <p:extLst>
      <p:ext uri="{BB962C8B-B14F-4D97-AF65-F5344CB8AC3E}">
        <p14:creationId xmlns:p14="http://schemas.microsoft.com/office/powerpoint/2010/main" val="8880396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Highlight 1">
    <p:spTree>
      <p:nvGrpSpPr>
        <p:cNvPr id="1" name=""/>
        <p:cNvGrpSpPr/>
        <p:nvPr/>
      </p:nvGrpSpPr>
      <p:grpSpPr>
        <a:xfrm>
          <a:off x="0" y="0"/>
          <a:ext cx="0" cy="0"/>
          <a:chOff x="0" y="0"/>
          <a:chExt cx="0" cy="0"/>
        </a:xfrm>
      </p:grpSpPr>
      <p:sp>
        <p:nvSpPr>
          <p:cNvPr id="14" name="Tijdelijke aanduiding voor afbeelding 5">
            <a:extLst>
              <a:ext uri="{FF2B5EF4-FFF2-40B4-BE49-F238E27FC236}">
                <a16:creationId xmlns:a16="http://schemas.microsoft.com/office/drawing/2014/main" id="{02E54C8A-AE5B-EE46-90CA-91C34CD42544}"/>
              </a:ext>
            </a:extLst>
          </p:cNvPr>
          <p:cNvSpPr>
            <a:spLocks noGrp="1"/>
          </p:cNvSpPr>
          <p:nvPr>
            <p:ph type="pic" sz="quarter" idx="16" hasCustomPrompt="1"/>
          </p:nvPr>
        </p:nvSpPr>
        <p:spPr>
          <a:xfrm>
            <a:off x="0" y="-58717"/>
            <a:ext cx="9052297" cy="6940179"/>
          </a:xfrm>
          <a:solidFill>
            <a:schemeClr val="bg1">
              <a:lumMod val="95000"/>
            </a:schemeClr>
          </a:solidFill>
        </p:spPr>
        <p:txBody>
          <a:bodyPr tIns="251999">
            <a:noAutofit/>
          </a:bodyPr>
          <a:lstStyle>
            <a:lvl1pPr marL="0" indent="0" algn="ctr">
              <a:buFontTx/>
              <a:buNone/>
              <a:defRPr sz="1100"/>
            </a:lvl1pPr>
          </a:lstStyle>
          <a:p>
            <a:r>
              <a:rPr lang="en-GB" dirty="0"/>
              <a:t>Click the icon to add an image</a:t>
            </a:r>
          </a:p>
        </p:txBody>
      </p:sp>
      <p:sp>
        <p:nvSpPr>
          <p:cNvPr id="5" name="Tijdelijke aanduiding voor tekst 4">
            <a:extLst>
              <a:ext uri="{FF2B5EF4-FFF2-40B4-BE49-F238E27FC236}">
                <a16:creationId xmlns:a16="http://schemas.microsoft.com/office/drawing/2014/main" id="{B2AF1863-B46E-0441-83EB-CFB2E069C5DE}"/>
              </a:ext>
            </a:extLst>
          </p:cNvPr>
          <p:cNvSpPr>
            <a:spLocks noGrp="1"/>
          </p:cNvSpPr>
          <p:nvPr>
            <p:ph type="body" sz="quarter" idx="17" hasCustomPrompt="1"/>
          </p:nvPr>
        </p:nvSpPr>
        <p:spPr>
          <a:xfrm>
            <a:off x="7530242" y="-69202"/>
            <a:ext cx="4677879" cy="6948000"/>
          </a:xfrm>
          <a:blipFill>
            <a:blip r:embed="rId2"/>
            <a:stretch>
              <a:fillRect/>
            </a:stretch>
          </a:blipFill>
        </p:spPr>
        <p:txBody>
          <a:bodyPr>
            <a:normAutofit/>
          </a:bodyPr>
          <a:lstStyle>
            <a:lvl1pPr marL="0" indent="0">
              <a:buFontTx/>
              <a:buNone/>
              <a:defRPr sz="800"/>
            </a:lvl1pPr>
          </a:lstStyle>
          <a:p>
            <a:pPr lvl="0"/>
            <a:r>
              <a:rPr lang="en-GB" dirty="0"/>
              <a:t>   </a:t>
            </a:r>
          </a:p>
        </p:txBody>
      </p:sp>
      <p:sp>
        <p:nvSpPr>
          <p:cNvPr id="16" name="Tijdelijke aanduiding voor tekst 15">
            <a:extLst>
              <a:ext uri="{FF2B5EF4-FFF2-40B4-BE49-F238E27FC236}">
                <a16:creationId xmlns:a16="http://schemas.microsoft.com/office/drawing/2014/main" id="{7475D8A7-48AE-9942-B23A-5A16FFDBB10A}"/>
              </a:ext>
            </a:extLst>
          </p:cNvPr>
          <p:cNvSpPr>
            <a:spLocks noGrp="1"/>
          </p:cNvSpPr>
          <p:nvPr>
            <p:ph type="body" sz="quarter" idx="18" hasCustomPrompt="1"/>
          </p:nvPr>
        </p:nvSpPr>
        <p:spPr>
          <a:xfrm>
            <a:off x="7778661" y="-54533"/>
            <a:ext cx="906762" cy="2093990"/>
          </a:xfrm>
          <a:custGeom>
            <a:avLst/>
            <a:gdLst>
              <a:gd name="connsiteX0" fmla="*/ 0 w 906762"/>
              <a:gd name="connsiteY0" fmla="*/ 0 h 2011363"/>
              <a:gd name="connsiteX1" fmla="*/ 906762 w 906762"/>
              <a:gd name="connsiteY1" fmla="*/ 0 h 2011363"/>
              <a:gd name="connsiteX2" fmla="*/ 906762 w 906762"/>
              <a:gd name="connsiteY2" fmla="*/ 2011363 h 2011363"/>
              <a:gd name="connsiteX3" fmla="*/ 0 w 906762"/>
              <a:gd name="connsiteY3" fmla="*/ 2011363 h 2011363"/>
              <a:gd name="connsiteX4" fmla="*/ 0 w 906762"/>
              <a:gd name="connsiteY4" fmla="*/ 0 h 2011363"/>
              <a:gd name="connsiteX0" fmla="*/ 0 w 906762"/>
              <a:gd name="connsiteY0" fmla="*/ 0 h 2011363"/>
              <a:gd name="connsiteX1" fmla="*/ 906762 w 906762"/>
              <a:gd name="connsiteY1" fmla="*/ 0 h 2011363"/>
              <a:gd name="connsiteX2" fmla="*/ 0 w 906762"/>
              <a:gd name="connsiteY2" fmla="*/ 2011363 h 2011363"/>
              <a:gd name="connsiteX3" fmla="*/ 0 w 906762"/>
              <a:gd name="connsiteY3" fmla="*/ 0 h 2011363"/>
              <a:gd name="connsiteX0" fmla="*/ 0 w 906762"/>
              <a:gd name="connsiteY0" fmla="*/ 0 h 2093990"/>
              <a:gd name="connsiteX1" fmla="*/ 906762 w 906762"/>
              <a:gd name="connsiteY1" fmla="*/ 0 h 2093990"/>
              <a:gd name="connsiteX2" fmla="*/ 490251 w 906762"/>
              <a:gd name="connsiteY2" fmla="*/ 2093990 h 2093990"/>
              <a:gd name="connsiteX3" fmla="*/ 0 w 906762"/>
              <a:gd name="connsiteY3" fmla="*/ 0 h 2093990"/>
            </a:gdLst>
            <a:ahLst/>
            <a:cxnLst>
              <a:cxn ang="0">
                <a:pos x="connsiteX0" y="connsiteY0"/>
              </a:cxn>
              <a:cxn ang="0">
                <a:pos x="connsiteX1" y="connsiteY1"/>
              </a:cxn>
              <a:cxn ang="0">
                <a:pos x="connsiteX2" y="connsiteY2"/>
              </a:cxn>
              <a:cxn ang="0">
                <a:pos x="connsiteX3" y="connsiteY3"/>
              </a:cxn>
            </a:cxnLst>
            <a:rect l="l" t="t" r="r" b="b"/>
            <a:pathLst>
              <a:path w="906762" h="2093990">
                <a:moveTo>
                  <a:pt x="0" y="0"/>
                </a:moveTo>
                <a:lnTo>
                  <a:pt x="906762" y="0"/>
                </a:lnTo>
                <a:lnTo>
                  <a:pt x="490251" y="2093990"/>
                </a:lnTo>
                <a:lnTo>
                  <a:pt x="0" y="0"/>
                </a:lnTo>
                <a:close/>
              </a:path>
            </a:pathLst>
          </a:custGeom>
          <a:gradFill>
            <a:gsLst>
              <a:gs pos="0">
                <a:schemeClr val="accent1">
                  <a:alpha val="35000"/>
                </a:schemeClr>
              </a:gs>
              <a:gs pos="80000">
                <a:schemeClr val="accent1"/>
              </a:gs>
            </a:gsLst>
            <a:lin ang="600000" scaled="0"/>
          </a:gradFill>
        </p:spPr>
        <p:txBody>
          <a:bodyPr/>
          <a:lstStyle>
            <a:lvl1pPr marL="0" indent="0">
              <a:buFontTx/>
              <a:buNone/>
              <a:defRPr/>
            </a:lvl1pPr>
          </a:lstStyle>
          <a:p>
            <a:pPr lvl="0"/>
            <a:r>
              <a:rPr lang="en-GB" dirty="0"/>
              <a:t>  </a:t>
            </a:r>
          </a:p>
        </p:txBody>
      </p:sp>
      <p:sp>
        <p:nvSpPr>
          <p:cNvPr id="19" name="Tijdelijke aanduiding voor tekst 15">
            <a:extLst>
              <a:ext uri="{FF2B5EF4-FFF2-40B4-BE49-F238E27FC236}">
                <a16:creationId xmlns:a16="http://schemas.microsoft.com/office/drawing/2014/main" id="{84450FE4-A148-BD40-8DD4-975AFA55EC39}"/>
              </a:ext>
            </a:extLst>
          </p:cNvPr>
          <p:cNvSpPr>
            <a:spLocks noGrp="1"/>
          </p:cNvSpPr>
          <p:nvPr>
            <p:ph type="body" sz="quarter" idx="19" hasCustomPrompt="1"/>
          </p:nvPr>
        </p:nvSpPr>
        <p:spPr>
          <a:xfrm rot="10800000">
            <a:off x="7645191" y="2069224"/>
            <a:ext cx="1472318" cy="4809574"/>
          </a:xfrm>
          <a:custGeom>
            <a:avLst/>
            <a:gdLst>
              <a:gd name="connsiteX0" fmla="*/ 0 w 906762"/>
              <a:gd name="connsiteY0" fmla="*/ 0 h 2011363"/>
              <a:gd name="connsiteX1" fmla="*/ 906762 w 906762"/>
              <a:gd name="connsiteY1" fmla="*/ 0 h 2011363"/>
              <a:gd name="connsiteX2" fmla="*/ 906762 w 906762"/>
              <a:gd name="connsiteY2" fmla="*/ 2011363 h 2011363"/>
              <a:gd name="connsiteX3" fmla="*/ 0 w 906762"/>
              <a:gd name="connsiteY3" fmla="*/ 2011363 h 2011363"/>
              <a:gd name="connsiteX4" fmla="*/ 0 w 906762"/>
              <a:gd name="connsiteY4" fmla="*/ 0 h 2011363"/>
              <a:gd name="connsiteX0" fmla="*/ 0 w 906762"/>
              <a:gd name="connsiteY0" fmla="*/ 0 h 2011363"/>
              <a:gd name="connsiteX1" fmla="*/ 906762 w 906762"/>
              <a:gd name="connsiteY1" fmla="*/ 0 h 2011363"/>
              <a:gd name="connsiteX2" fmla="*/ 0 w 906762"/>
              <a:gd name="connsiteY2" fmla="*/ 2011363 h 2011363"/>
              <a:gd name="connsiteX3" fmla="*/ 0 w 906762"/>
              <a:gd name="connsiteY3" fmla="*/ 0 h 2011363"/>
              <a:gd name="connsiteX0" fmla="*/ 0 w 906762"/>
              <a:gd name="connsiteY0" fmla="*/ 0 h 2093990"/>
              <a:gd name="connsiteX1" fmla="*/ 906762 w 906762"/>
              <a:gd name="connsiteY1" fmla="*/ 0 h 2093990"/>
              <a:gd name="connsiteX2" fmla="*/ 490251 w 906762"/>
              <a:gd name="connsiteY2" fmla="*/ 2093990 h 2093990"/>
              <a:gd name="connsiteX3" fmla="*/ 0 w 906762"/>
              <a:gd name="connsiteY3" fmla="*/ 0 h 2093990"/>
              <a:gd name="connsiteX0" fmla="*/ 0 w 906762"/>
              <a:gd name="connsiteY0" fmla="*/ 0 h 2083622"/>
              <a:gd name="connsiteX1" fmla="*/ 906762 w 906762"/>
              <a:gd name="connsiteY1" fmla="*/ 0 h 2083622"/>
              <a:gd name="connsiteX2" fmla="*/ 515740 w 906762"/>
              <a:gd name="connsiteY2" fmla="*/ 2083622 h 2083622"/>
              <a:gd name="connsiteX3" fmla="*/ 0 w 906762"/>
              <a:gd name="connsiteY3" fmla="*/ 0 h 2083622"/>
              <a:gd name="connsiteX0" fmla="*/ 0 w 906762"/>
              <a:gd name="connsiteY0" fmla="*/ 0 h 2083622"/>
              <a:gd name="connsiteX1" fmla="*/ 906762 w 906762"/>
              <a:gd name="connsiteY1" fmla="*/ 0 h 2083622"/>
              <a:gd name="connsiteX2" fmla="*/ 525205 w 906762"/>
              <a:gd name="connsiteY2" fmla="*/ 2083622 h 2083622"/>
              <a:gd name="connsiteX3" fmla="*/ 0 w 906762"/>
              <a:gd name="connsiteY3" fmla="*/ 0 h 2083622"/>
            </a:gdLst>
            <a:ahLst/>
            <a:cxnLst>
              <a:cxn ang="0">
                <a:pos x="connsiteX0" y="connsiteY0"/>
              </a:cxn>
              <a:cxn ang="0">
                <a:pos x="connsiteX1" y="connsiteY1"/>
              </a:cxn>
              <a:cxn ang="0">
                <a:pos x="connsiteX2" y="connsiteY2"/>
              </a:cxn>
              <a:cxn ang="0">
                <a:pos x="connsiteX3" y="connsiteY3"/>
              </a:cxn>
            </a:cxnLst>
            <a:rect l="l" t="t" r="r" b="b"/>
            <a:pathLst>
              <a:path w="906762" h="2083622">
                <a:moveTo>
                  <a:pt x="0" y="0"/>
                </a:moveTo>
                <a:lnTo>
                  <a:pt x="906762" y="0"/>
                </a:lnTo>
                <a:lnTo>
                  <a:pt x="525205" y="2083622"/>
                </a:lnTo>
                <a:lnTo>
                  <a:pt x="0" y="0"/>
                </a:lnTo>
                <a:close/>
              </a:path>
            </a:pathLst>
          </a:custGeom>
          <a:gradFill>
            <a:gsLst>
              <a:gs pos="37000">
                <a:schemeClr val="accent1"/>
              </a:gs>
              <a:gs pos="83000">
                <a:schemeClr val="accent3">
                  <a:alpha val="63000"/>
                </a:schemeClr>
              </a:gs>
            </a:gsLst>
            <a:lin ang="600000" scaled="0"/>
          </a:gradFill>
        </p:spPr>
        <p:txBody>
          <a:bodyPr/>
          <a:lstStyle>
            <a:lvl1pPr marL="0" indent="0">
              <a:buFontTx/>
              <a:buNone/>
              <a:defRPr/>
            </a:lvl1pPr>
          </a:lstStyle>
          <a:p>
            <a:pPr lvl="0"/>
            <a:r>
              <a:rPr lang="en-GB" dirty="0"/>
              <a:t>  </a:t>
            </a:r>
          </a:p>
        </p:txBody>
      </p:sp>
      <p:pic>
        <p:nvPicPr>
          <p:cNvPr id="11" name="Picture 10" descr="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39275" y="6370891"/>
            <a:ext cx="949109" cy="342168"/>
          </a:xfrm>
          <a:prstGeom prst="rect">
            <a:avLst/>
          </a:prstGeom>
        </p:spPr>
      </p:pic>
      <p:sp>
        <p:nvSpPr>
          <p:cNvPr id="2" name="Holder 2"/>
          <p:cNvSpPr>
            <a:spLocks noGrp="1"/>
          </p:cNvSpPr>
          <p:nvPr userDrawn="1">
            <p:ph type="ctrTitle" hasCustomPrompt="1"/>
          </p:nvPr>
        </p:nvSpPr>
        <p:spPr>
          <a:xfrm>
            <a:off x="8848800" y="2151819"/>
            <a:ext cx="2770251" cy="346249"/>
          </a:xfrm>
          <a:prstGeom prst="rect">
            <a:avLst/>
          </a:prstGeom>
        </p:spPr>
        <p:txBody>
          <a:bodyPr wrap="square" lIns="0" tIns="0" rIns="0" bIns="0" anchor="b">
            <a:noAutofit/>
          </a:bodyPr>
          <a:lstStyle>
            <a:lvl1pPr>
              <a:lnSpc>
                <a:spcPct val="90000"/>
              </a:lnSpc>
              <a:defRPr sz="3000" b="0" i="0">
                <a:solidFill>
                  <a:schemeClr val="bg1"/>
                </a:solidFill>
                <a:latin typeface="Arial" charset="0"/>
                <a:ea typeface="Arial" charset="0"/>
                <a:cs typeface="Arial" charset="0"/>
              </a:defRPr>
            </a:lvl1pPr>
          </a:lstStyle>
          <a:p>
            <a:r>
              <a:rPr lang="en-GB" noProof="0" dirty="0"/>
              <a:t>Insert title</a:t>
            </a:r>
          </a:p>
        </p:txBody>
      </p:sp>
      <p:sp>
        <p:nvSpPr>
          <p:cNvPr id="3" name="Holder 3"/>
          <p:cNvSpPr>
            <a:spLocks noGrp="1"/>
          </p:cNvSpPr>
          <p:nvPr userDrawn="1">
            <p:ph type="subTitle" idx="4" hasCustomPrompt="1"/>
          </p:nvPr>
        </p:nvSpPr>
        <p:spPr>
          <a:xfrm>
            <a:off x="8848800" y="2878535"/>
            <a:ext cx="2770251" cy="1285503"/>
          </a:xfrm>
          <a:prstGeom prst="rect">
            <a:avLst/>
          </a:prstGeom>
        </p:spPr>
        <p:txBody>
          <a:bodyPr wrap="square" lIns="0" tIns="0" rIns="0" bIns="0">
            <a:noAutofit/>
          </a:bodyPr>
          <a:lstStyle>
            <a:lvl1pPr marL="0" indent="0">
              <a:lnSpc>
                <a:spcPct val="100000"/>
              </a:lnSpc>
              <a:spcBef>
                <a:spcPts val="0"/>
              </a:spcBef>
              <a:spcAft>
                <a:spcPts val="600"/>
              </a:spcAft>
              <a:buNone/>
              <a:defRPr sz="1600" b="0" i="0" baseline="0">
                <a:solidFill>
                  <a:schemeClr val="bg1"/>
                </a:solidFill>
                <a:latin typeface="Arial" charset="0"/>
                <a:ea typeface="Arial" charset="0"/>
                <a:cs typeface="Arial" charset="0"/>
              </a:defRPr>
            </a:lvl1pPr>
            <a:lvl2pPr marL="12700" indent="0">
              <a:spcBef>
                <a:spcPts val="200"/>
              </a:spcBef>
              <a:spcAft>
                <a:spcPts val="200"/>
              </a:spcAft>
              <a:tabLst/>
              <a:defRPr sz="1400" b="0" i="0">
                <a:solidFill>
                  <a:schemeClr val="bg1"/>
                </a:solidFill>
                <a:latin typeface="Arial" charset="0"/>
                <a:ea typeface="Arial" charset="0"/>
                <a:cs typeface="Arial" charset="0"/>
              </a:defRPr>
            </a:lvl2pPr>
          </a:lstStyle>
          <a:p>
            <a:r>
              <a:rPr lang="en-GB" noProof="0"/>
              <a:t>Insert text</a:t>
            </a:r>
          </a:p>
        </p:txBody>
      </p:sp>
    </p:spTree>
    <p:extLst>
      <p:ext uri="{BB962C8B-B14F-4D97-AF65-F5344CB8AC3E}">
        <p14:creationId xmlns:p14="http://schemas.microsoft.com/office/powerpoint/2010/main" val="3287300435"/>
      </p:ext>
    </p:extLst>
  </p:cSld>
  <p:clrMapOvr>
    <a:masterClrMapping/>
  </p:clrMapOvr>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Highlight 2">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5BA886C9-E7AD-6648-9510-35BC174541DC}"/>
              </a:ext>
            </a:extLst>
          </p:cNvPr>
          <p:cNvSpPr>
            <a:spLocks noGrp="1"/>
          </p:cNvSpPr>
          <p:nvPr>
            <p:ph type="pic" sz="quarter" idx="10" hasCustomPrompt="1"/>
          </p:nvPr>
        </p:nvSpPr>
        <p:spPr>
          <a:xfrm>
            <a:off x="-51055" y="-51280"/>
            <a:ext cx="8124825" cy="6935353"/>
          </a:xfrm>
          <a:custGeom>
            <a:avLst/>
            <a:gdLst>
              <a:gd name="connsiteX0" fmla="*/ 0 w 8124825"/>
              <a:gd name="connsiteY0" fmla="*/ 0 h 6897688"/>
              <a:gd name="connsiteX1" fmla="*/ 8124825 w 8124825"/>
              <a:gd name="connsiteY1" fmla="*/ 0 h 6897688"/>
              <a:gd name="connsiteX2" fmla="*/ 8124825 w 8124825"/>
              <a:gd name="connsiteY2" fmla="*/ 6897688 h 6897688"/>
              <a:gd name="connsiteX3" fmla="*/ 0 w 8124825"/>
              <a:gd name="connsiteY3" fmla="*/ 6897688 h 6897688"/>
              <a:gd name="connsiteX4" fmla="*/ 0 w 8124825"/>
              <a:gd name="connsiteY4" fmla="*/ 0 h 6897688"/>
              <a:gd name="connsiteX0" fmla="*/ 0 w 8124825"/>
              <a:gd name="connsiteY0" fmla="*/ 0 h 6897688"/>
              <a:gd name="connsiteX1" fmla="*/ 8124825 w 8124825"/>
              <a:gd name="connsiteY1" fmla="*/ 0 h 6897688"/>
              <a:gd name="connsiteX2" fmla="*/ 8101013 w 8124825"/>
              <a:gd name="connsiteY2" fmla="*/ 3940176 h 6897688"/>
              <a:gd name="connsiteX3" fmla="*/ 8124825 w 8124825"/>
              <a:gd name="connsiteY3" fmla="*/ 6897688 h 6897688"/>
              <a:gd name="connsiteX4" fmla="*/ 0 w 8124825"/>
              <a:gd name="connsiteY4" fmla="*/ 6897688 h 6897688"/>
              <a:gd name="connsiteX5" fmla="*/ 0 w 8124825"/>
              <a:gd name="connsiteY5" fmla="*/ 0 h 6897688"/>
              <a:gd name="connsiteX0" fmla="*/ 0 w 8124825"/>
              <a:gd name="connsiteY0" fmla="*/ 0 h 6897688"/>
              <a:gd name="connsiteX1" fmla="*/ 8124825 w 8124825"/>
              <a:gd name="connsiteY1" fmla="*/ 0 h 6897688"/>
              <a:gd name="connsiteX2" fmla="*/ 7243763 w 8124825"/>
              <a:gd name="connsiteY2" fmla="*/ 3825876 h 6897688"/>
              <a:gd name="connsiteX3" fmla="*/ 8124825 w 8124825"/>
              <a:gd name="connsiteY3" fmla="*/ 6897688 h 6897688"/>
              <a:gd name="connsiteX4" fmla="*/ 0 w 8124825"/>
              <a:gd name="connsiteY4" fmla="*/ 6897688 h 6897688"/>
              <a:gd name="connsiteX5" fmla="*/ 0 w 8124825"/>
              <a:gd name="connsiteY5" fmla="*/ 0 h 6897688"/>
              <a:gd name="connsiteX0" fmla="*/ 0 w 8124825"/>
              <a:gd name="connsiteY0" fmla="*/ 0 h 6897688"/>
              <a:gd name="connsiteX1" fmla="*/ 8124825 w 8124825"/>
              <a:gd name="connsiteY1" fmla="*/ 0 h 6897688"/>
              <a:gd name="connsiteX2" fmla="*/ 7243763 w 8124825"/>
              <a:gd name="connsiteY2" fmla="*/ 3825876 h 6897688"/>
              <a:gd name="connsiteX3" fmla="*/ 7924800 w 8124825"/>
              <a:gd name="connsiteY3" fmla="*/ 6897688 h 6897688"/>
              <a:gd name="connsiteX4" fmla="*/ 0 w 8124825"/>
              <a:gd name="connsiteY4" fmla="*/ 6897688 h 6897688"/>
              <a:gd name="connsiteX5" fmla="*/ 0 w 8124825"/>
              <a:gd name="connsiteY5" fmla="*/ 0 h 689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24825" h="6897688">
                <a:moveTo>
                  <a:pt x="0" y="0"/>
                </a:moveTo>
                <a:lnTo>
                  <a:pt x="8124825" y="0"/>
                </a:lnTo>
                <a:lnTo>
                  <a:pt x="7243763" y="3825876"/>
                </a:lnTo>
                <a:lnTo>
                  <a:pt x="7924800" y="6897688"/>
                </a:lnTo>
                <a:lnTo>
                  <a:pt x="0" y="6897688"/>
                </a:lnTo>
                <a:lnTo>
                  <a:pt x="0" y="0"/>
                </a:lnTo>
                <a:close/>
              </a:path>
            </a:pathLst>
          </a:custGeom>
          <a:solidFill>
            <a:schemeClr val="bg1">
              <a:lumMod val="95000"/>
            </a:schemeClr>
          </a:solidFill>
        </p:spPr>
        <p:txBody>
          <a:bodyPr tIns="468000">
            <a:normAutofit/>
          </a:bodyPr>
          <a:lstStyle>
            <a:lvl1pPr marL="0" indent="0" algn="ctr">
              <a:buNone/>
              <a:defRPr sz="1100"/>
            </a:lvl1pPr>
          </a:lstStyle>
          <a:p>
            <a:r>
              <a:rPr lang="en-GB" dirty="0"/>
              <a:t>Click the icon to insert an image</a:t>
            </a:r>
          </a:p>
        </p:txBody>
      </p:sp>
      <p:sp>
        <p:nvSpPr>
          <p:cNvPr id="53" name="Holder 2"/>
          <p:cNvSpPr>
            <a:spLocks noGrp="1"/>
          </p:cNvSpPr>
          <p:nvPr>
            <p:ph type="ctrTitle" hasCustomPrompt="1"/>
          </p:nvPr>
        </p:nvSpPr>
        <p:spPr>
          <a:xfrm>
            <a:off x="8464727" y="2082569"/>
            <a:ext cx="3120073" cy="415498"/>
          </a:xfrm>
          <a:prstGeom prst="rect">
            <a:avLst/>
          </a:prstGeom>
        </p:spPr>
        <p:txBody>
          <a:bodyPr wrap="square" lIns="0" tIns="0" rIns="0" bIns="0" anchor="b">
            <a:spAutoFit/>
          </a:bodyPr>
          <a:lstStyle>
            <a:lvl1pPr>
              <a:lnSpc>
                <a:spcPct val="90000"/>
              </a:lnSpc>
              <a:defRPr sz="3000" b="0" i="0">
                <a:solidFill>
                  <a:srgbClr val="7C2855"/>
                </a:solidFill>
                <a:latin typeface="Arial" charset="0"/>
                <a:ea typeface="Arial" charset="0"/>
                <a:cs typeface="Arial" charset="0"/>
              </a:defRPr>
            </a:lvl1pPr>
          </a:lstStyle>
          <a:p>
            <a:r>
              <a:rPr lang="en-GB" noProof="0"/>
              <a:t>Insert title</a:t>
            </a:r>
          </a:p>
        </p:txBody>
      </p:sp>
      <p:sp>
        <p:nvSpPr>
          <p:cNvPr id="54" name="Holder 3"/>
          <p:cNvSpPr>
            <a:spLocks noGrp="1"/>
          </p:cNvSpPr>
          <p:nvPr>
            <p:ph type="subTitle" idx="4" hasCustomPrompt="1"/>
          </p:nvPr>
        </p:nvSpPr>
        <p:spPr>
          <a:xfrm>
            <a:off x="8464727" y="2837347"/>
            <a:ext cx="3120073" cy="1285503"/>
          </a:xfrm>
          <a:prstGeom prst="rect">
            <a:avLst/>
          </a:prstGeom>
        </p:spPr>
        <p:txBody>
          <a:bodyPr wrap="square" lIns="0" tIns="0" rIns="0" bIns="0">
            <a:noAutofit/>
          </a:bodyPr>
          <a:lstStyle>
            <a:lvl1pPr marL="0" indent="0">
              <a:lnSpc>
                <a:spcPct val="100000"/>
              </a:lnSpc>
              <a:spcBef>
                <a:spcPts val="0"/>
              </a:spcBef>
              <a:spcAft>
                <a:spcPts val="600"/>
              </a:spcAft>
              <a:buNone/>
              <a:defRPr sz="1600" b="0" i="0" baseline="0">
                <a:solidFill>
                  <a:schemeClr val="tx1"/>
                </a:solidFill>
                <a:latin typeface="Arial" charset="0"/>
                <a:ea typeface="Arial" charset="0"/>
                <a:cs typeface="Arial" charset="0"/>
              </a:defRPr>
            </a:lvl1pPr>
            <a:lvl2pPr marL="12700" indent="0">
              <a:spcBef>
                <a:spcPts val="200"/>
              </a:spcBef>
              <a:spcAft>
                <a:spcPts val="200"/>
              </a:spcAft>
              <a:tabLst/>
              <a:defRPr sz="1400" b="0" i="0">
                <a:solidFill>
                  <a:schemeClr val="tx1">
                    <a:lumMod val="50000"/>
                    <a:lumOff val="50000"/>
                  </a:schemeClr>
                </a:solidFill>
                <a:latin typeface="Arial" charset="0"/>
                <a:ea typeface="Arial" charset="0"/>
                <a:cs typeface="Arial" charset="0"/>
              </a:defRPr>
            </a:lvl2pPr>
          </a:lstStyle>
          <a:p>
            <a:r>
              <a:rPr lang="en-GB" noProof="0" dirty="0"/>
              <a:t>Insert text</a:t>
            </a:r>
          </a:p>
        </p:txBody>
      </p:sp>
      <p:pic>
        <p:nvPicPr>
          <p:cNvPr id="11" name="Afbeelding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39275" y="6376058"/>
            <a:ext cx="945525" cy="335730"/>
          </a:xfrm>
          <a:prstGeom prst="rect">
            <a:avLst/>
          </a:prstGeom>
        </p:spPr>
      </p:pic>
      <p:sp>
        <p:nvSpPr>
          <p:cNvPr id="13" name="Tijdelijke aanduiding voor tekst 15">
            <a:extLst>
              <a:ext uri="{FF2B5EF4-FFF2-40B4-BE49-F238E27FC236}">
                <a16:creationId xmlns:a16="http://schemas.microsoft.com/office/drawing/2014/main" id="{CBB473ED-F088-7D4E-B6FB-52696BA3AD8B}"/>
              </a:ext>
            </a:extLst>
          </p:cNvPr>
          <p:cNvSpPr>
            <a:spLocks noGrp="1"/>
          </p:cNvSpPr>
          <p:nvPr>
            <p:ph type="body" sz="quarter" idx="18" hasCustomPrompt="1"/>
          </p:nvPr>
        </p:nvSpPr>
        <p:spPr>
          <a:xfrm>
            <a:off x="5052322" y="-19094"/>
            <a:ext cx="3021447" cy="6915602"/>
          </a:xfrm>
          <a:custGeom>
            <a:avLst/>
            <a:gdLst>
              <a:gd name="connsiteX0" fmla="*/ 0 w 906762"/>
              <a:gd name="connsiteY0" fmla="*/ 0 h 2011363"/>
              <a:gd name="connsiteX1" fmla="*/ 906762 w 906762"/>
              <a:gd name="connsiteY1" fmla="*/ 0 h 2011363"/>
              <a:gd name="connsiteX2" fmla="*/ 906762 w 906762"/>
              <a:gd name="connsiteY2" fmla="*/ 2011363 h 2011363"/>
              <a:gd name="connsiteX3" fmla="*/ 0 w 906762"/>
              <a:gd name="connsiteY3" fmla="*/ 2011363 h 2011363"/>
              <a:gd name="connsiteX4" fmla="*/ 0 w 906762"/>
              <a:gd name="connsiteY4" fmla="*/ 0 h 2011363"/>
              <a:gd name="connsiteX0" fmla="*/ 0 w 906762"/>
              <a:gd name="connsiteY0" fmla="*/ 0 h 2011363"/>
              <a:gd name="connsiteX1" fmla="*/ 906762 w 906762"/>
              <a:gd name="connsiteY1" fmla="*/ 0 h 2011363"/>
              <a:gd name="connsiteX2" fmla="*/ 0 w 906762"/>
              <a:gd name="connsiteY2" fmla="*/ 2011363 h 2011363"/>
              <a:gd name="connsiteX3" fmla="*/ 0 w 906762"/>
              <a:gd name="connsiteY3" fmla="*/ 0 h 2011363"/>
              <a:gd name="connsiteX0" fmla="*/ 0 w 906762"/>
              <a:gd name="connsiteY0" fmla="*/ 0 h 2093990"/>
              <a:gd name="connsiteX1" fmla="*/ 906762 w 906762"/>
              <a:gd name="connsiteY1" fmla="*/ 0 h 2093990"/>
              <a:gd name="connsiteX2" fmla="*/ 490251 w 906762"/>
              <a:gd name="connsiteY2" fmla="*/ 2093990 h 2093990"/>
              <a:gd name="connsiteX3" fmla="*/ 0 w 906762"/>
              <a:gd name="connsiteY3" fmla="*/ 0 h 2093990"/>
              <a:gd name="connsiteX0" fmla="*/ 0 w 906762"/>
              <a:gd name="connsiteY0" fmla="*/ 0 h 2101731"/>
              <a:gd name="connsiteX1" fmla="*/ 906762 w 906762"/>
              <a:gd name="connsiteY1" fmla="*/ 0 h 2101731"/>
              <a:gd name="connsiteX2" fmla="*/ 475637 w 906762"/>
              <a:gd name="connsiteY2" fmla="*/ 2101731 h 2101731"/>
              <a:gd name="connsiteX3" fmla="*/ 0 w 906762"/>
              <a:gd name="connsiteY3" fmla="*/ 0 h 2101731"/>
              <a:gd name="connsiteX0" fmla="*/ 0 w 906762"/>
              <a:gd name="connsiteY0" fmla="*/ 0 h 3727376"/>
              <a:gd name="connsiteX1" fmla="*/ 906762 w 906762"/>
              <a:gd name="connsiteY1" fmla="*/ 0 h 3727376"/>
              <a:gd name="connsiteX2" fmla="*/ 95688 w 906762"/>
              <a:gd name="connsiteY2" fmla="*/ 3727376 h 3727376"/>
              <a:gd name="connsiteX3" fmla="*/ 0 w 906762"/>
              <a:gd name="connsiteY3" fmla="*/ 0 h 3727376"/>
              <a:gd name="connsiteX0" fmla="*/ 0 w 1505912"/>
              <a:gd name="connsiteY0" fmla="*/ 0 h 3735117"/>
              <a:gd name="connsiteX1" fmla="*/ 1505912 w 1505912"/>
              <a:gd name="connsiteY1" fmla="*/ 7741 h 3735117"/>
              <a:gd name="connsiteX2" fmla="*/ 694838 w 1505912"/>
              <a:gd name="connsiteY2" fmla="*/ 3735117 h 3735117"/>
              <a:gd name="connsiteX3" fmla="*/ 0 w 1505912"/>
              <a:gd name="connsiteY3" fmla="*/ 0 h 3735117"/>
              <a:gd name="connsiteX0" fmla="*/ 0 w 1505912"/>
              <a:gd name="connsiteY0" fmla="*/ 0 h 3735117"/>
              <a:gd name="connsiteX1" fmla="*/ 1505912 w 1505912"/>
              <a:gd name="connsiteY1" fmla="*/ 7741 h 3735117"/>
              <a:gd name="connsiteX2" fmla="*/ 694838 w 1505912"/>
              <a:gd name="connsiteY2" fmla="*/ 3735117 h 3735117"/>
              <a:gd name="connsiteX3" fmla="*/ 403010 w 1505912"/>
              <a:gd name="connsiteY3" fmla="*/ 2243006 h 3735117"/>
              <a:gd name="connsiteX4" fmla="*/ 0 w 1505912"/>
              <a:gd name="connsiteY4" fmla="*/ 0 h 3735117"/>
              <a:gd name="connsiteX0" fmla="*/ 28085 w 1533997"/>
              <a:gd name="connsiteY0" fmla="*/ 0 h 3735117"/>
              <a:gd name="connsiteX1" fmla="*/ 1533997 w 1533997"/>
              <a:gd name="connsiteY1" fmla="*/ 7741 h 3735117"/>
              <a:gd name="connsiteX2" fmla="*/ 722923 w 1533997"/>
              <a:gd name="connsiteY2" fmla="*/ 3735117 h 3735117"/>
              <a:gd name="connsiteX3" fmla="*/ 0 w 1533997"/>
              <a:gd name="connsiteY3" fmla="*/ 3721569 h 3735117"/>
              <a:gd name="connsiteX4" fmla="*/ 28085 w 1533997"/>
              <a:gd name="connsiteY4" fmla="*/ 0 h 3735117"/>
              <a:gd name="connsiteX0" fmla="*/ 39273 w 1545185"/>
              <a:gd name="connsiteY0" fmla="*/ 0 h 3740533"/>
              <a:gd name="connsiteX1" fmla="*/ 1545185 w 1545185"/>
              <a:gd name="connsiteY1" fmla="*/ 7741 h 3740533"/>
              <a:gd name="connsiteX2" fmla="*/ 734111 w 1545185"/>
              <a:gd name="connsiteY2" fmla="*/ 3735117 h 3740533"/>
              <a:gd name="connsiteX3" fmla="*/ 0 w 1545185"/>
              <a:gd name="connsiteY3" fmla="*/ 3740533 h 3740533"/>
              <a:gd name="connsiteX4" fmla="*/ 39273 w 1545185"/>
              <a:gd name="connsiteY4" fmla="*/ 0 h 3740533"/>
              <a:gd name="connsiteX0" fmla="*/ 39273 w 1545185"/>
              <a:gd name="connsiteY0" fmla="*/ 0 h 3746970"/>
              <a:gd name="connsiteX1" fmla="*/ 1545185 w 1545185"/>
              <a:gd name="connsiteY1" fmla="*/ 7741 h 3746970"/>
              <a:gd name="connsiteX2" fmla="*/ 729636 w 1545185"/>
              <a:gd name="connsiteY2" fmla="*/ 3746970 h 3746970"/>
              <a:gd name="connsiteX3" fmla="*/ 0 w 1545185"/>
              <a:gd name="connsiteY3" fmla="*/ 3740533 h 3746970"/>
              <a:gd name="connsiteX4" fmla="*/ 39273 w 1545185"/>
              <a:gd name="connsiteY4" fmla="*/ 0 h 3746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185" h="3746970">
                <a:moveTo>
                  <a:pt x="39273" y="0"/>
                </a:moveTo>
                <a:lnTo>
                  <a:pt x="1545185" y="7741"/>
                </a:lnTo>
                <a:lnTo>
                  <a:pt x="729636" y="3746970"/>
                </a:lnTo>
                <a:lnTo>
                  <a:pt x="0" y="3740533"/>
                </a:lnTo>
                <a:lnTo>
                  <a:pt x="39273" y="0"/>
                </a:lnTo>
                <a:close/>
              </a:path>
            </a:pathLst>
          </a:custGeom>
          <a:gradFill>
            <a:gsLst>
              <a:gs pos="23000">
                <a:schemeClr val="bg1">
                  <a:lumMod val="95000"/>
                  <a:alpha val="0"/>
                </a:schemeClr>
              </a:gs>
              <a:gs pos="88000">
                <a:schemeClr val="tx1">
                  <a:lumMod val="50000"/>
                  <a:alpha val="23000"/>
                </a:schemeClr>
              </a:gs>
            </a:gsLst>
            <a:lin ang="0" scaled="0"/>
          </a:gradFill>
        </p:spPr>
        <p:txBody>
          <a:bodyPr/>
          <a:lstStyle>
            <a:lvl1pPr marL="0" indent="0">
              <a:buFontTx/>
              <a:buNone/>
              <a:defRPr/>
            </a:lvl1pPr>
          </a:lstStyle>
          <a:p>
            <a:pPr lvl="0"/>
            <a:r>
              <a:rPr lang="en-GB" dirty="0"/>
              <a:t>  </a:t>
            </a:r>
          </a:p>
        </p:txBody>
      </p:sp>
      <p:sp>
        <p:nvSpPr>
          <p:cNvPr id="14" name="Tijdelijke aanduiding voor tekst 15">
            <a:extLst>
              <a:ext uri="{FF2B5EF4-FFF2-40B4-BE49-F238E27FC236}">
                <a16:creationId xmlns:a16="http://schemas.microsoft.com/office/drawing/2014/main" id="{04362E2E-C0AE-994E-8619-7FE76D4E30CE}"/>
              </a:ext>
            </a:extLst>
          </p:cNvPr>
          <p:cNvSpPr>
            <a:spLocks noGrp="1"/>
          </p:cNvSpPr>
          <p:nvPr>
            <p:ph type="body" sz="quarter" idx="19" hasCustomPrompt="1"/>
          </p:nvPr>
        </p:nvSpPr>
        <p:spPr>
          <a:xfrm flipV="1">
            <a:off x="5043542" y="-19094"/>
            <a:ext cx="2843752" cy="6916292"/>
          </a:xfrm>
          <a:custGeom>
            <a:avLst/>
            <a:gdLst>
              <a:gd name="connsiteX0" fmla="*/ 0 w 906762"/>
              <a:gd name="connsiteY0" fmla="*/ 0 h 2011363"/>
              <a:gd name="connsiteX1" fmla="*/ 906762 w 906762"/>
              <a:gd name="connsiteY1" fmla="*/ 0 h 2011363"/>
              <a:gd name="connsiteX2" fmla="*/ 906762 w 906762"/>
              <a:gd name="connsiteY2" fmla="*/ 2011363 h 2011363"/>
              <a:gd name="connsiteX3" fmla="*/ 0 w 906762"/>
              <a:gd name="connsiteY3" fmla="*/ 2011363 h 2011363"/>
              <a:gd name="connsiteX4" fmla="*/ 0 w 906762"/>
              <a:gd name="connsiteY4" fmla="*/ 0 h 2011363"/>
              <a:gd name="connsiteX0" fmla="*/ 0 w 906762"/>
              <a:gd name="connsiteY0" fmla="*/ 0 h 2011363"/>
              <a:gd name="connsiteX1" fmla="*/ 906762 w 906762"/>
              <a:gd name="connsiteY1" fmla="*/ 0 h 2011363"/>
              <a:gd name="connsiteX2" fmla="*/ 0 w 906762"/>
              <a:gd name="connsiteY2" fmla="*/ 2011363 h 2011363"/>
              <a:gd name="connsiteX3" fmla="*/ 0 w 906762"/>
              <a:gd name="connsiteY3" fmla="*/ 0 h 2011363"/>
              <a:gd name="connsiteX0" fmla="*/ 0 w 906762"/>
              <a:gd name="connsiteY0" fmla="*/ 0 h 2093990"/>
              <a:gd name="connsiteX1" fmla="*/ 906762 w 906762"/>
              <a:gd name="connsiteY1" fmla="*/ 0 h 2093990"/>
              <a:gd name="connsiteX2" fmla="*/ 490251 w 906762"/>
              <a:gd name="connsiteY2" fmla="*/ 2093990 h 2093990"/>
              <a:gd name="connsiteX3" fmla="*/ 0 w 906762"/>
              <a:gd name="connsiteY3" fmla="*/ 0 h 2093990"/>
              <a:gd name="connsiteX0" fmla="*/ 0 w 906762"/>
              <a:gd name="connsiteY0" fmla="*/ 0 h 2101731"/>
              <a:gd name="connsiteX1" fmla="*/ 906762 w 906762"/>
              <a:gd name="connsiteY1" fmla="*/ 0 h 2101731"/>
              <a:gd name="connsiteX2" fmla="*/ 475637 w 906762"/>
              <a:gd name="connsiteY2" fmla="*/ 2101731 h 2101731"/>
              <a:gd name="connsiteX3" fmla="*/ 0 w 906762"/>
              <a:gd name="connsiteY3" fmla="*/ 0 h 2101731"/>
              <a:gd name="connsiteX0" fmla="*/ 0 w 906762"/>
              <a:gd name="connsiteY0" fmla="*/ 0 h 3727376"/>
              <a:gd name="connsiteX1" fmla="*/ 906762 w 906762"/>
              <a:gd name="connsiteY1" fmla="*/ 0 h 3727376"/>
              <a:gd name="connsiteX2" fmla="*/ 95688 w 906762"/>
              <a:gd name="connsiteY2" fmla="*/ 3727376 h 3727376"/>
              <a:gd name="connsiteX3" fmla="*/ 0 w 906762"/>
              <a:gd name="connsiteY3" fmla="*/ 0 h 3727376"/>
              <a:gd name="connsiteX0" fmla="*/ 86979 w 811074"/>
              <a:gd name="connsiteY0" fmla="*/ 0 h 3742858"/>
              <a:gd name="connsiteX1" fmla="*/ 811074 w 811074"/>
              <a:gd name="connsiteY1" fmla="*/ 15482 h 3742858"/>
              <a:gd name="connsiteX2" fmla="*/ 0 w 811074"/>
              <a:gd name="connsiteY2" fmla="*/ 3742858 h 3742858"/>
              <a:gd name="connsiteX3" fmla="*/ 86979 w 811074"/>
              <a:gd name="connsiteY3" fmla="*/ 0 h 3742858"/>
              <a:gd name="connsiteX0" fmla="*/ 0 w 1469379"/>
              <a:gd name="connsiteY0" fmla="*/ 0 h 3727376"/>
              <a:gd name="connsiteX1" fmla="*/ 1469379 w 1469379"/>
              <a:gd name="connsiteY1" fmla="*/ 0 h 3727376"/>
              <a:gd name="connsiteX2" fmla="*/ 658305 w 1469379"/>
              <a:gd name="connsiteY2" fmla="*/ 3727376 h 3727376"/>
              <a:gd name="connsiteX3" fmla="*/ 0 w 1469379"/>
              <a:gd name="connsiteY3" fmla="*/ 0 h 3727376"/>
              <a:gd name="connsiteX0" fmla="*/ 0 w 1476686"/>
              <a:gd name="connsiteY0" fmla="*/ 7741 h 3735117"/>
              <a:gd name="connsiteX1" fmla="*/ 1476686 w 1476686"/>
              <a:gd name="connsiteY1" fmla="*/ 0 h 3735117"/>
              <a:gd name="connsiteX2" fmla="*/ 658305 w 1476686"/>
              <a:gd name="connsiteY2" fmla="*/ 3735117 h 3735117"/>
              <a:gd name="connsiteX3" fmla="*/ 0 w 1476686"/>
              <a:gd name="connsiteY3" fmla="*/ 7741 h 3735117"/>
              <a:gd name="connsiteX0" fmla="*/ 0 w 1476686"/>
              <a:gd name="connsiteY0" fmla="*/ 7741 h 3735117"/>
              <a:gd name="connsiteX1" fmla="*/ 1476686 w 1476686"/>
              <a:gd name="connsiteY1" fmla="*/ 0 h 3735117"/>
              <a:gd name="connsiteX2" fmla="*/ 658305 w 1476686"/>
              <a:gd name="connsiteY2" fmla="*/ 3735117 h 3735117"/>
              <a:gd name="connsiteX3" fmla="*/ 0 w 1476686"/>
              <a:gd name="connsiteY3" fmla="*/ 7741 h 3735117"/>
              <a:gd name="connsiteX0" fmla="*/ 0 w 1476686"/>
              <a:gd name="connsiteY0" fmla="*/ 7741 h 3735117"/>
              <a:gd name="connsiteX1" fmla="*/ 1476686 w 1476686"/>
              <a:gd name="connsiteY1" fmla="*/ 0 h 3735117"/>
              <a:gd name="connsiteX2" fmla="*/ 658305 w 1476686"/>
              <a:gd name="connsiteY2" fmla="*/ 3735117 h 3735117"/>
              <a:gd name="connsiteX3" fmla="*/ 455614 w 1476686"/>
              <a:gd name="connsiteY3" fmla="*/ 2625504 h 3735117"/>
              <a:gd name="connsiteX4" fmla="*/ 0 w 1476686"/>
              <a:gd name="connsiteY4" fmla="*/ 7741 h 3735117"/>
              <a:gd name="connsiteX0" fmla="*/ 0 w 1476686"/>
              <a:gd name="connsiteY0" fmla="*/ 7741 h 3740233"/>
              <a:gd name="connsiteX1" fmla="*/ 1476686 w 1476686"/>
              <a:gd name="connsiteY1" fmla="*/ 0 h 3740233"/>
              <a:gd name="connsiteX2" fmla="*/ 658305 w 1476686"/>
              <a:gd name="connsiteY2" fmla="*/ 3735117 h 3740233"/>
              <a:gd name="connsiteX3" fmla="*/ 39131 w 1476686"/>
              <a:gd name="connsiteY3" fmla="*/ 3740233 h 3740233"/>
              <a:gd name="connsiteX4" fmla="*/ 0 w 1476686"/>
              <a:gd name="connsiteY4" fmla="*/ 7741 h 3740233"/>
              <a:gd name="connsiteX0" fmla="*/ 0 w 1454311"/>
              <a:gd name="connsiteY0" fmla="*/ 14852 h 3747344"/>
              <a:gd name="connsiteX1" fmla="*/ 1454311 w 1454311"/>
              <a:gd name="connsiteY1" fmla="*/ 0 h 3747344"/>
              <a:gd name="connsiteX2" fmla="*/ 658305 w 1454311"/>
              <a:gd name="connsiteY2" fmla="*/ 3742228 h 3747344"/>
              <a:gd name="connsiteX3" fmla="*/ 39131 w 1454311"/>
              <a:gd name="connsiteY3" fmla="*/ 3747344 h 3747344"/>
              <a:gd name="connsiteX4" fmla="*/ 0 w 1454311"/>
              <a:gd name="connsiteY4" fmla="*/ 14852 h 3747344"/>
              <a:gd name="connsiteX0" fmla="*/ 0 w 1454311"/>
              <a:gd name="connsiteY0" fmla="*/ 3000 h 3747344"/>
              <a:gd name="connsiteX1" fmla="*/ 1454311 w 1454311"/>
              <a:gd name="connsiteY1" fmla="*/ 0 h 3747344"/>
              <a:gd name="connsiteX2" fmla="*/ 658305 w 1454311"/>
              <a:gd name="connsiteY2" fmla="*/ 3742228 h 3747344"/>
              <a:gd name="connsiteX3" fmla="*/ 39131 w 1454311"/>
              <a:gd name="connsiteY3" fmla="*/ 3747344 h 3747344"/>
              <a:gd name="connsiteX4" fmla="*/ 0 w 1454311"/>
              <a:gd name="connsiteY4" fmla="*/ 3000 h 3747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4311" h="3747344">
                <a:moveTo>
                  <a:pt x="0" y="3000"/>
                </a:moveTo>
                <a:lnTo>
                  <a:pt x="1454311" y="0"/>
                </a:lnTo>
                <a:lnTo>
                  <a:pt x="658305" y="3742228"/>
                </a:lnTo>
                <a:lnTo>
                  <a:pt x="39131" y="3747344"/>
                </a:lnTo>
                <a:lnTo>
                  <a:pt x="0" y="3000"/>
                </a:lnTo>
                <a:close/>
              </a:path>
            </a:pathLst>
          </a:custGeom>
          <a:gradFill>
            <a:gsLst>
              <a:gs pos="17000">
                <a:schemeClr val="bg1">
                  <a:lumMod val="95000"/>
                  <a:alpha val="0"/>
                </a:schemeClr>
              </a:gs>
              <a:gs pos="86000">
                <a:schemeClr val="tx1">
                  <a:alpha val="45000"/>
                </a:schemeClr>
              </a:gs>
            </a:gsLst>
            <a:lin ang="600000" scaled="0"/>
          </a:gradFill>
        </p:spPr>
        <p:txBody>
          <a:bodyPr/>
          <a:lstStyle>
            <a:lvl1pPr marL="0" indent="0">
              <a:buFontTx/>
              <a:buNone/>
              <a:defRPr/>
            </a:lvl1pPr>
          </a:lstStyle>
          <a:p>
            <a:pPr lvl="0"/>
            <a:r>
              <a:rPr lang="en-GB" dirty="0"/>
              <a:t>  </a:t>
            </a:r>
          </a:p>
        </p:txBody>
      </p:sp>
    </p:spTree>
    <p:extLst>
      <p:ext uri="{BB962C8B-B14F-4D97-AF65-F5344CB8AC3E}">
        <p14:creationId xmlns:p14="http://schemas.microsoft.com/office/powerpoint/2010/main" val="1412934315"/>
      </p:ext>
    </p:extLst>
  </p:cSld>
  <p:clrMapOvr>
    <a:masterClrMapping/>
  </p:clrMapOvr>
  <p:extLst>
    <p:ext uri="{DCECCB84-F9BA-43D5-87BE-67443E8EF086}">
      <p15:sldGuideLst xmlns:p15="http://schemas.microsoft.com/office/powerpoint/2012/main">
        <p15:guide id="1" orient="horz" pos="4201">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and text - right under">
    <p:spTree>
      <p:nvGrpSpPr>
        <p:cNvPr id="1" name=""/>
        <p:cNvGrpSpPr/>
        <p:nvPr/>
      </p:nvGrpSpPr>
      <p:grpSpPr>
        <a:xfrm>
          <a:off x="0" y="0"/>
          <a:ext cx="0" cy="0"/>
          <a:chOff x="0" y="0"/>
          <a:chExt cx="0" cy="0"/>
        </a:xfrm>
      </p:grpSpPr>
      <p:sp>
        <p:nvSpPr>
          <p:cNvPr id="6" name="Picture Placeholder 5"/>
          <p:cNvSpPr>
            <a:spLocks noGrp="1" noChangeAspect="1"/>
          </p:cNvSpPr>
          <p:nvPr>
            <p:ph type="pic" sz="quarter" idx="12" hasCustomPrompt="1"/>
          </p:nvPr>
        </p:nvSpPr>
        <p:spPr>
          <a:xfrm>
            <a:off x="0" y="5"/>
            <a:ext cx="12192000" cy="6232525"/>
          </a:xfrm>
          <a:prstGeom prst="rect">
            <a:avLst/>
          </a:prstGeom>
          <a:solidFill>
            <a:schemeClr val="bg1">
              <a:lumMod val="95000"/>
            </a:schemeClr>
          </a:solidFill>
        </p:spPr>
        <p:txBody>
          <a:bodyPr lIns="360000" anchor="ctr"/>
          <a:lstStyle>
            <a:lvl1pPr marL="0" indent="0" algn="l">
              <a:buNone/>
              <a:defRPr/>
            </a:lvl1pPr>
          </a:lstStyle>
          <a:p>
            <a:r>
              <a:rPr lang="nl-NL" dirty="0"/>
              <a:t>Click icon </a:t>
            </a:r>
            <a:r>
              <a:rPr lang="nl-NL" dirty="0" err="1"/>
              <a:t>to</a:t>
            </a:r>
            <a:r>
              <a:rPr lang="nl-NL" dirty="0"/>
              <a:t> </a:t>
            </a:r>
            <a:r>
              <a:rPr lang="nl-NL" dirty="0" err="1"/>
              <a:t>insert</a:t>
            </a:r>
            <a:r>
              <a:rPr lang="nl-NL" dirty="0"/>
              <a:t> </a:t>
            </a:r>
            <a:r>
              <a:rPr lang="nl-NL" dirty="0" err="1"/>
              <a:t>an</a:t>
            </a:r>
            <a:r>
              <a:rPr lang="nl-NL" dirty="0"/>
              <a:t> image</a:t>
            </a:r>
            <a:endParaRPr lang="en-US" dirty="0"/>
          </a:p>
        </p:txBody>
      </p:sp>
      <p:sp>
        <p:nvSpPr>
          <p:cNvPr id="2" name="Titel 1"/>
          <p:cNvSpPr>
            <a:spLocks noGrp="1"/>
          </p:cNvSpPr>
          <p:nvPr>
            <p:ph type="title" hasCustomPrompt="1"/>
          </p:nvPr>
        </p:nvSpPr>
        <p:spPr>
          <a:xfrm>
            <a:off x="7240558" y="5184753"/>
            <a:ext cx="5374433" cy="653034"/>
          </a:xfrm>
          <a:prstGeom prst="parallelogram">
            <a:avLst/>
          </a:prstGeom>
          <a:solidFill>
            <a:schemeClr val="bg1"/>
          </a:solidFill>
        </p:spPr>
        <p:txBody>
          <a:bodyPr lIns="108000" tIns="108000" rIns="216000" bIns="108000">
            <a:spAutoFit/>
          </a:bodyPr>
          <a:lstStyle>
            <a:lvl1pPr>
              <a:defRPr sz="2000" b="0" i="0">
                <a:solidFill>
                  <a:srgbClr val="DC4405"/>
                </a:solidFill>
                <a:latin typeface="Arial" charset="0"/>
                <a:ea typeface="Arial" charset="0"/>
                <a:cs typeface="Arial" charset="0"/>
              </a:defRPr>
            </a:lvl1pPr>
          </a:lstStyle>
          <a:p>
            <a:r>
              <a:rPr lang="en-GB" noProof="0" dirty="0"/>
              <a:t>Insert</a:t>
            </a:r>
            <a:r>
              <a:rPr lang="nl-NL" dirty="0"/>
              <a:t> </a:t>
            </a:r>
            <a:r>
              <a:rPr lang="nl-NL" dirty="0" err="1"/>
              <a:t>text</a:t>
            </a:r>
            <a:endParaRPr lang="nl-NL" dirty="0"/>
          </a:p>
        </p:txBody>
      </p:sp>
      <p:sp>
        <p:nvSpPr>
          <p:cNvPr id="3" name="Tijdelijke aanduiding voor dianummer 2"/>
          <p:cNvSpPr>
            <a:spLocks noGrp="1"/>
          </p:cNvSpPr>
          <p:nvPr>
            <p:ph type="sldNum" sz="quarter" idx="10"/>
          </p:nvPr>
        </p:nvSpPr>
        <p:spPr/>
        <p:txBody>
          <a:bodyPr/>
          <a:lstStyle/>
          <a:p>
            <a:pPr marL="25400">
              <a:lnSpc>
                <a:spcPts val="1110"/>
              </a:lnSpc>
            </a:pPr>
            <a:fld id="{81D60167-4931-47E6-BA6A-407CBD079E47}" type="slidenum">
              <a:rPr lang="tr-TR" smtClean="0"/>
              <a:pPr marL="25400">
                <a:lnSpc>
                  <a:spcPts val="1110"/>
                </a:lnSpc>
              </a:pPr>
              <a:t>‹nr.›</a:t>
            </a:fld>
            <a:endParaRPr lang="tr-TR" dirty="0"/>
          </a:p>
        </p:txBody>
      </p:sp>
    </p:spTree>
    <p:extLst>
      <p:ext uri="{BB962C8B-B14F-4D97-AF65-F5344CB8AC3E}">
        <p14:creationId xmlns:p14="http://schemas.microsoft.com/office/powerpoint/2010/main" val="9339571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Cover slide">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7AEDDB00-FAC9-490E-B569-86FB658ED19B}"/>
              </a:ext>
            </a:extLst>
          </p:cNvPr>
          <p:cNvSpPr/>
          <p:nvPr userDrawn="1"/>
        </p:nvSpPr>
        <p:spPr bwMode="auto">
          <a:xfrm>
            <a:off x="2" y="3712590"/>
            <a:ext cx="7452743" cy="3145412"/>
          </a:xfrm>
          <a:custGeom>
            <a:avLst/>
            <a:gdLst>
              <a:gd name="connsiteX0" fmla="*/ 3069233 w 5589557"/>
              <a:gd name="connsiteY0" fmla="*/ 1554 h 2359059"/>
              <a:gd name="connsiteX1" fmla="*/ 5589557 w 5589557"/>
              <a:gd name="connsiteY1" fmla="*/ 1774898 h 2359059"/>
              <a:gd name="connsiteX2" fmla="*/ 5546129 w 5589557"/>
              <a:gd name="connsiteY2" fmla="*/ 2359059 h 2359059"/>
              <a:gd name="connsiteX3" fmla="*/ 0 w 5589557"/>
              <a:gd name="connsiteY3" fmla="*/ 2359059 h 2359059"/>
              <a:gd name="connsiteX4" fmla="*/ 0 w 5589557"/>
              <a:gd name="connsiteY4" fmla="*/ 186564 h 2359059"/>
              <a:gd name="connsiteX5" fmla="*/ 146646 w 5589557"/>
              <a:gd name="connsiteY5" fmla="*/ 236670 h 2359059"/>
              <a:gd name="connsiteX6" fmla="*/ 3069233 w 5589557"/>
              <a:gd name="connsiteY6" fmla="*/ 1554 h 235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89557" h="2359059">
                <a:moveTo>
                  <a:pt x="3069233" y="1554"/>
                </a:moveTo>
                <a:cubicBezTo>
                  <a:pt x="4537044" y="57470"/>
                  <a:pt x="5445502" y="1094583"/>
                  <a:pt x="5589557" y="1774898"/>
                </a:cubicBezTo>
                <a:lnTo>
                  <a:pt x="5546129" y="2359059"/>
                </a:lnTo>
                <a:lnTo>
                  <a:pt x="0" y="2359059"/>
                </a:lnTo>
                <a:lnTo>
                  <a:pt x="0" y="186564"/>
                </a:lnTo>
                <a:lnTo>
                  <a:pt x="146646" y="236670"/>
                </a:lnTo>
                <a:cubicBezTo>
                  <a:pt x="1519373" y="672486"/>
                  <a:pt x="2013718" y="-37388"/>
                  <a:pt x="3069233" y="1554"/>
                </a:cubicBezTo>
                <a:close/>
              </a:path>
            </a:pathLst>
          </a:custGeom>
          <a:solidFill>
            <a:schemeClr val="accent4"/>
          </a:solidFill>
          <a:ln>
            <a:no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pic>
        <p:nvPicPr>
          <p:cNvPr id="19" name="Picture 18">
            <a:extLst>
              <a:ext uri="{FF2B5EF4-FFF2-40B4-BE49-F238E27FC236}">
                <a16:creationId xmlns:a16="http://schemas.microsoft.com/office/drawing/2014/main" id="{82E3BDC2-8923-46EF-8E33-1247F90DC4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7924" r="18325"/>
          <a:stretch/>
        </p:blipFill>
        <p:spPr>
          <a:xfrm flipH="1">
            <a:off x="-827" y="931334"/>
            <a:ext cx="6470140" cy="5465693"/>
          </a:xfrm>
          <a:prstGeom prst="rect">
            <a:avLst/>
          </a:prstGeom>
        </p:spPr>
      </p:pic>
      <p:sp>
        <p:nvSpPr>
          <p:cNvPr id="22" name="Title 2">
            <a:extLst>
              <a:ext uri="{FF2B5EF4-FFF2-40B4-BE49-F238E27FC236}">
                <a16:creationId xmlns:a16="http://schemas.microsoft.com/office/drawing/2014/main" id="{A45ED763-5B98-44F2-AE92-97E5601BEA76}"/>
              </a:ext>
            </a:extLst>
          </p:cNvPr>
          <p:cNvSpPr>
            <a:spLocks noGrp="1"/>
          </p:cNvSpPr>
          <p:nvPr>
            <p:ph type="title" hasCustomPrompt="1"/>
          </p:nvPr>
        </p:nvSpPr>
        <p:spPr>
          <a:xfrm>
            <a:off x="4423222" y="1220755"/>
            <a:ext cx="7245581" cy="1977147"/>
          </a:xfrm>
          <a:prstGeom prst="rect">
            <a:avLst/>
          </a:prstGeom>
        </p:spPr>
        <p:txBody>
          <a:bodyPr lIns="90000" rIns="90000" anchor="ctr" anchorCtr="0"/>
          <a:lstStyle>
            <a:lvl1pPr algn="r">
              <a:lnSpc>
                <a:spcPct val="80000"/>
              </a:lnSpc>
              <a:defRPr sz="3733">
                <a:solidFill>
                  <a:schemeClr val="tx2"/>
                </a:solidFill>
                <a:latin typeface="Crank 8 Plus Two" panose="02000506030000020004" pitchFamily="50" charset="0"/>
              </a:defRPr>
            </a:lvl1pPr>
          </a:lstStyle>
          <a:p>
            <a:r>
              <a:rPr lang="en-US" dirty="0"/>
              <a:t>Click to edit master text style</a:t>
            </a:r>
            <a:endParaRPr dirty="0"/>
          </a:p>
        </p:txBody>
      </p:sp>
      <p:sp>
        <p:nvSpPr>
          <p:cNvPr id="32" name="Freeform: Shape 31">
            <a:extLst>
              <a:ext uri="{FF2B5EF4-FFF2-40B4-BE49-F238E27FC236}">
                <a16:creationId xmlns:a16="http://schemas.microsoft.com/office/drawing/2014/main" id="{54D5A3E1-6C4A-4A9A-8E54-1CE5FFB9E8F0}"/>
              </a:ext>
            </a:extLst>
          </p:cNvPr>
          <p:cNvSpPr/>
          <p:nvPr/>
        </p:nvSpPr>
        <p:spPr>
          <a:xfrm>
            <a:off x="2" y="3616435"/>
            <a:ext cx="12191999" cy="3241567"/>
          </a:xfrm>
          <a:custGeom>
            <a:avLst/>
            <a:gdLst>
              <a:gd name="connsiteX0" fmla="*/ 8777004 w 9143999"/>
              <a:gd name="connsiteY0" fmla="*/ 350 h 2431175"/>
              <a:gd name="connsiteX1" fmla="*/ 9045046 w 9143999"/>
              <a:gd name="connsiteY1" fmla="*/ 9963 h 2431175"/>
              <a:gd name="connsiteX2" fmla="*/ 9143999 w 9143999"/>
              <a:gd name="connsiteY2" fmla="*/ 18376 h 2431175"/>
              <a:gd name="connsiteX3" fmla="*/ 9143999 w 9143999"/>
              <a:gd name="connsiteY3" fmla="*/ 2431175 h 2431175"/>
              <a:gd name="connsiteX4" fmla="*/ 0 w 9143999"/>
              <a:gd name="connsiteY4" fmla="*/ 2431175 h 2431175"/>
              <a:gd name="connsiteX5" fmla="*/ 0 w 9143999"/>
              <a:gd name="connsiteY5" fmla="*/ 1637060 h 2431175"/>
              <a:gd name="connsiteX6" fmla="*/ 170856 w 9143999"/>
              <a:gd name="connsiteY6" fmla="*/ 1685494 h 2431175"/>
              <a:gd name="connsiteX7" fmla="*/ 2600939 w 9143999"/>
              <a:gd name="connsiteY7" fmla="*/ 1897394 h 2431175"/>
              <a:gd name="connsiteX8" fmla="*/ 8777004 w 9143999"/>
              <a:gd name="connsiteY8" fmla="*/ 350 h 243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2431175">
                <a:moveTo>
                  <a:pt x="8777004" y="350"/>
                </a:moveTo>
                <a:cubicBezTo>
                  <a:pt x="8865062" y="1339"/>
                  <a:pt x="8954386" y="4496"/>
                  <a:pt x="9045046" y="9963"/>
                </a:cubicBezTo>
                <a:lnTo>
                  <a:pt x="9143999" y="18376"/>
                </a:lnTo>
                <a:lnTo>
                  <a:pt x="9143999" y="2431175"/>
                </a:lnTo>
                <a:lnTo>
                  <a:pt x="0" y="2431175"/>
                </a:lnTo>
                <a:lnTo>
                  <a:pt x="0" y="1637060"/>
                </a:lnTo>
                <a:lnTo>
                  <a:pt x="170856" y="1685494"/>
                </a:lnTo>
                <a:cubicBezTo>
                  <a:pt x="861605" y="1867989"/>
                  <a:pt x="1689251" y="1978398"/>
                  <a:pt x="2600939" y="1897394"/>
                </a:cubicBezTo>
                <a:cubicBezTo>
                  <a:pt x="4720054" y="1709176"/>
                  <a:pt x="6223316" y="-28305"/>
                  <a:pt x="8777004" y="350"/>
                </a:cubicBezTo>
                <a:close/>
              </a:path>
            </a:pathLst>
          </a:custGeom>
          <a:solidFill>
            <a:schemeClr val="accent1"/>
          </a:solidFill>
          <a:ln w="9525" cap="flat">
            <a:noFill/>
            <a:prstDash val="solid"/>
            <a:miter/>
          </a:ln>
        </p:spPr>
        <p:txBody>
          <a:bodyPr rtlCol="0" anchor="ctr"/>
          <a:lstStyle/>
          <a:p>
            <a:endParaRPr lang="nl-BE" sz="2400"/>
          </a:p>
        </p:txBody>
      </p:sp>
      <p:grpSp>
        <p:nvGrpSpPr>
          <p:cNvPr id="15" name="Graphic 6">
            <a:extLst>
              <a:ext uri="{FF2B5EF4-FFF2-40B4-BE49-F238E27FC236}">
                <a16:creationId xmlns:a16="http://schemas.microsoft.com/office/drawing/2014/main" id="{FECA725C-254D-4E9B-B849-C3326C7A496B}"/>
              </a:ext>
            </a:extLst>
          </p:cNvPr>
          <p:cNvGrpSpPr>
            <a:grpSpLocks noChangeAspect="1"/>
          </p:cNvGrpSpPr>
          <p:nvPr userDrawn="1"/>
        </p:nvGrpSpPr>
        <p:grpSpPr>
          <a:xfrm>
            <a:off x="9938029" y="651172"/>
            <a:ext cx="1603572" cy="475823"/>
            <a:chOff x="1454943" y="1645443"/>
            <a:chExt cx="6227445" cy="1847850"/>
          </a:xfrm>
          <a:solidFill>
            <a:schemeClr val="accent1"/>
          </a:solidFill>
        </p:grpSpPr>
        <p:sp>
          <p:nvSpPr>
            <p:cNvPr id="16" name="Freeform: Shape 15">
              <a:extLst>
                <a:ext uri="{FF2B5EF4-FFF2-40B4-BE49-F238E27FC236}">
                  <a16:creationId xmlns:a16="http://schemas.microsoft.com/office/drawing/2014/main" id="{93684577-D2CE-4E47-9478-29E6E43BE1FF}"/>
                </a:ext>
              </a:extLst>
            </p:cNvPr>
            <p:cNvSpPr/>
            <p:nvPr/>
          </p:nvSpPr>
          <p:spPr>
            <a:xfrm>
              <a:off x="1454943" y="1645443"/>
              <a:ext cx="1847850" cy="1847850"/>
            </a:xfrm>
            <a:custGeom>
              <a:avLst/>
              <a:gdLst>
                <a:gd name="connsiteX0" fmla="*/ 36671 w 1847850"/>
                <a:gd name="connsiteY0" fmla="*/ 693896 h 1847850"/>
                <a:gd name="connsiteX1" fmla="*/ 926306 w 1847850"/>
                <a:gd name="connsiteY1" fmla="*/ 7144 h 1847850"/>
                <a:gd name="connsiteX2" fmla="*/ 1754981 w 1847850"/>
                <a:gd name="connsiteY2" fmla="*/ 529114 h 1847850"/>
                <a:gd name="connsiteX3" fmla="*/ 1524476 w 1847850"/>
                <a:gd name="connsiteY3" fmla="*/ 573881 h 1847850"/>
                <a:gd name="connsiteX4" fmla="*/ 1210151 w 1847850"/>
                <a:gd name="connsiteY4" fmla="*/ 563404 h 1847850"/>
                <a:gd name="connsiteX5" fmla="*/ 1478756 w 1847850"/>
                <a:gd name="connsiteY5" fmla="*/ 686276 h 1847850"/>
                <a:gd name="connsiteX6" fmla="*/ 1794986 w 1847850"/>
                <a:gd name="connsiteY6" fmla="*/ 626269 h 1847850"/>
                <a:gd name="connsiteX7" fmla="*/ 1844516 w 1847850"/>
                <a:gd name="connsiteY7" fmla="*/ 925354 h 1847850"/>
                <a:gd name="connsiteX8" fmla="*/ 1661636 w 1847850"/>
                <a:gd name="connsiteY8" fmla="*/ 1474946 h 1847850"/>
                <a:gd name="connsiteX9" fmla="*/ 1329214 w 1847850"/>
                <a:gd name="connsiteY9" fmla="*/ 1121569 h 1847850"/>
                <a:gd name="connsiteX10" fmla="*/ 955834 w 1847850"/>
                <a:gd name="connsiteY10" fmla="*/ 976789 h 1847850"/>
                <a:gd name="connsiteX11" fmla="*/ 1088231 w 1847850"/>
                <a:gd name="connsiteY11" fmla="*/ 663416 h 1847850"/>
                <a:gd name="connsiteX12" fmla="*/ 990124 w 1847850"/>
                <a:gd name="connsiteY12" fmla="*/ 491966 h 1847850"/>
                <a:gd name="connsiteX13" fmla="*/ 1091089 w 1847850"/>
                <a:gd name="connsiteY13" fmla="*/ 343376 h 1847850"/>
                <a:gd name="connsiteX14" fmla="*/ 997744 w 1847850"/>
                <a:gd name="connsiteY14" fmla="*/ 221456 h 1847850"/>
                <a:gd name="connsiteX15" fmla="*/ 869156 w 1847850"/>
                <a:gd name="connsiteY15" fmla="*/ 339566 h 1847850"/>
                <a:gd name="connsiteX16" fmla="*/ 908209 w 1847850"/>
                <a:gd name="connsiteY16" fmla="*/ 437674 h 1847850"/>
                <a:gd name="connsiteX17" fmla="*/ 806291 w 1847850"/>
                <a:gd name="connsiteY17" fmla="*/ 466249 h 1847850"/>
                <a:gd name="connsiteX18" fmla="*/ 36671 w 1847850"/>
                <a:gd name="connsiteY18" fmla="*/ 693896 h 1847850"/>
                <a:gd name="connsiteX19" fmla="*/ 1179671 w 1847850"/>
                <a:gd name="connsiteY19" fmla="*/ 1277779 h 1847850"/>
                <a:gd name="connsiteX20" fmla="*/ 636746 w 1847850"/>
                <a:gd name="connsiteY20" fmla="*/ 1081564 h 1847850"/>
                <a:gd name="connsiteX21" fmla="*/ 756761 w 1847850"/>
                <a:gd name="connsiteY21" fmla="*/ 691039 h 1847850"/>
                <a:gd name="connsiteX22" fmla="*/ 17621 w 1847850"/>
                <a:gd name="connsiteY22" fmla="*/ 786289 h 1847850"/>
                <a:gd name="connsiteX23" fmla="*/ 7144 w 1847850"/>
                <a:gd name="connsiteY23" fmla="*/ 926306 h 1847850"/>
                <a:gd name="connsiteX24" fmla="*/ 234791 w 1847850"/>
                <a:gd name="connsiteY24" fmla="*/ 1531144 h 1847850"/>
                <a:gd name="connsiteX25" fmla="*/ 554831 w 1847850"/>
                <a:gd name="connsiteY25" fmla="*/ 1332071 h 1847850"/>
                <a:gd name="connsiteX26" fmla="*/ 641509 w 1847850"/>
                <a:gd name="connsiteY26" fmla="*/ 1451134 h 1847850"/>
                <a:gd name="connsiteX27" fmla="*/ 373856 w 1847850"/>
                <a:gd name="connsiteY27" fmla="*/ 1659731 h 1847850"/>
                <a:gd name="connsiteX28" fmla="*/ 926306 w 1847850"/>
                <a:gd name="connsiteY28" fmla="*/ 1845469 h 1847850"/>
                <a:gd name="connsiteX29" fmla="*/ 1576864 w 1847850"/>
                <a:gd name="connsiteY29" fmla="*/ 1575911 h 1847850"/>
                <a:gd name="connsiteX30" fmla="*/ 1179671 w 1847850"/>
                <a:gd name="connsiteY30" fmla="*/ 1277779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7850" h="1847850">
                  <a:moveTo>
                    <a:pt x="36671" y="693896"/>
                  </a:moveTo>
                  <a:cubicBezTo>
                    <a:pt x="139541" y="298609"/>
                    <a:pt x="498634" y="7144"/>
                    <a:pt x="926306" y="7144"/>
                  </a:cubicBezTo>
                  <a:cubicBezTo>
                    <a:pt x="1292066" y="7144"/>
                    <a:pt x="1607344" y="220504"/>
                    <a:pt x="1754981" y="529114"/>
                  </a:cubicBezTo>
                  <a:cubicBezTo>
                    <a:pt x="1754029" y="529114"/>
                    <a:pt x="1640681" y="563404"/>
                    <a:pt x="1524476" y="573881"/>
                  </a:cubicBezTo>
                  <a:cubicBezTo>
                    <a:pt x="1434941" y="582454"/>
                    <a:pt x="1325404" y="576739"/>
                    <a:pt x="1210151" y="563404"/>
                  </a:cubicBezTo>
                  <a:cubicBezTo>
                    <a:pt x="1078706" y="548164"/>
                    <a:pt x="1201579" y="686276"/>
                    <a:pt x="1478756" y="686276"/>
                  </a:cubicBezTo>
                  <a:cubicBezTo>
                    <a:pt x="1623536" y="686276"/>
                    <a:pt x="1794034" y="627221"/>
                    <a:pt x="1794986" y="626269"/>
                  </a:cubicBezTo>
                  <a:cubicBezTo>
                    <a:pt x="1827371" y="720566"/>
                    <a:pt x="1844516" y="820579"/>
                    <a:pt x="1844516" y="925354"/>
                  </a:cubicBezTo>
                  <a:cubicBezTo>
                    <a:pt x="1844516" y="1132046"/>
                    <a:pt x="1776889" y="1321594"/>
                    <a:pt x="1661636" y="1474946"/>
                  </a:cubicBezTo>
                  <a:cubicBezTo>
                    <a:pt x="1445419" y="1142524"/>
                    <a:pt x="1405414" y="1143476"/>
                    <a:pt x="1329214" y="1121569"/>
                  </a:cubicBezTo>
                  <a:cubicBezTo>
                    <a:pt x="1185386" y="1079659"/>
                    <a:pt x="964406" y="1081564"/>
                    <a:pt x="955834" y="976789"/>
                  </a:cubicBezTo>
                  <a:cubicBezTo>
                    <a:pt x="945356" y="838676"/>
                    <a:pt x="1088231" y="752951"/>
                    <a:pt x="1088231" y="663416"/>
                  </a:cubicBezTo>
                  <a:cubicBezTo>
                    <a:pt x="1088231" y="555784"/>
                    <a:pt x="986314" y="538639"/>
                    <a:pt x="990124" y="491966"/>
                  </a:cubicBezTo>
                  <a:cubicBezTo>
                    <a:pt x="993934" y="440531"/>
                    <a:pt x="1091089" y="458629"/>
                    <a:pt x="1091089" y="343376"/>
                  </a:cubicBezTo>
                  <a:cubicBezTo>
                    <a:pt x="1091089" y="257651"/>
                    <a:pt x="1052036" y="221456"/>
                    <a:pt x="997744" y="221456"/>
                  </a:cubicBezTo>
                  <a:cubicBezTo>
                    <a:pt x="895826" y="221456"/>
                    <a:pt x="864394" y="296704"/>
                    <a:pt x="869156" y="339566"/>
                  </a:cubicBezTo>
                  <a:cubicBezTo>
                    <a:pt x="874871" y="388144"/>
                    <a:pt x="905351" y="391954"/>
                    <a:pt x="908209" y="437674"/>
                  </a:cubicBezTo>
                  <a:cubicBezTo>
                    <a:pt x="912019" y="473869"/>
                    <a:pt x="883444" y="482441"/>
                    <a:pt x="806291" y="466249"/>
                  </a:cubicBezTo>
                  <a:cubicBezTo>
                    <a:pt x="623411" y="425291"/>
                    <a:pt x="147161" y="643414"/>
                    <a:pt x="36671" y="693896"/>
                  </a:cubicBezTo>
                  <a:close/>
                  <a:moveTo>
                    <a:pt x="1179671" y="1277779"/>
                  </a:moveTo>
                  <a:cubicBezTo>
                    <a:pt x="827246" y="1291114"/>
                    <a:pt x="636746" y="1280636"/>
                    <a:pt x="636746" y="1081564"/>
                  </a:cubicBezTo>
                  <a:cubicBezTo>
                    <a:pt x="636746" y="960596"/>
                    <a:pt x="729139" y="899636"/>
                    <a:pt x="756761" y="691039"/>
                  </a:cubicBezTo>
                  <a:cubicBezTo>
                    <a:pt x="777716" y="533876"/>
                    <a:pt x="621506" y="546259"/>
                    <a:pt x="17621" y="786289"/>
                  </a:cubicBezTo>
                  <a:cubicBezTo>
                    <a:pt x="10954" y="832009"/>
                    <a:pt x="7144" y="878681"/>
                    <a:pt x="7144" y="926306"/>
                  </a:cubicBezTo>
                  <a:cubicBezTo>
                    <a:pt x="7144" y="1157764"/>
                    <a:pt x="92869" y="1370171"/>
                    <a:pt x="234791" y="1531144"/>
                  </a:cubicBezTo>
                  <a:cubicBezTo>
                    <a:pt x="352901" y="1417796"/>
                    <a:pt x="440531" y="1353026"/>
                    <a:pt x="554831" y="1332071"/>
                  </a:cubicBezTo>
                  <a:cubicBezTo>
                    <a:pt x="685324" y="1308259"/>
                    <a:pt x="785336" y="1331119"/>
                    <a:pt x="641509" y="1451134"/>
                  </a:cubicBezTo>
                  <a:cubicBezTo>
                    <a:pt x="600551" y="1484471"/>
                    <a:pt x="524351" y="1540669"/>
                    <a:pt x="373856" y="1659731"/>
                  </a:cubicBezTo>
                  <a:cubicBezTo>
                    <a:pt x="527209" y="1775936"/>
                    <a:pt x="718661" y="1845469"/>
                    <a:pt x="926306" y="1845469"/>
                  </a:cubicBezTo>
                  <a:cubicBezTo>
                    <a:pt x="1187291" y="1845469"/>
                    <a:pt x="1411129" y="1739741"/>
                    <a:pt x="1576864" y="1575911"/>
                  </a:cubicBezTo>
                  <a:cubicBezTo>
                    <a:pt x="1306354" y="1387316"/>
                    <a:pt x="1405414" y="1269206"/>
                    <a:pt x="1179671" y="1277779"/>
                  </a:cubicBezTo>
                  <a:close/>
                </a:path>
              </a:pathLst>
            </a:custGeom>
            <a:grpFill/>
            <a:ln w="9525" cap="flat">
              <a:noFill/>
              <a:prstDash val="solid"/>
              <a:miter/>
            </a:ln>
          </p:spPr>
          <p:txBody>
            <a:bodyPr rtlCol="0" anchor="ctr"/>
            <a:lstStyle/>
            <a:p>
              <a:endParaRPr lang="en-GB" sz="2400" noProof="0"/>
            </a:p>
          </p:txBody>
        </p:sp>
        <p:sp>
          <p:nvSpPr>
            <p:cNvPr id="17" name="Freeform: Shape 16">
              <a:extLst>
                <a:ext uri="{FF2B5EF4-FFF2-40B4-BE49-F238E27FC236}">
                  <a16:creationId xmlns:a16="http://schemas.microsoft.com/office/drawing/2014/main" id="{D4DC69F5-8B90-4102-84B6-43FED4F7A1CD}"/>
                </a:ext>
              </a:extLst>
            </p:cNvPr>
            <p:cNvSpPr/>
            <p:nvPr/>
          </p:nvSpPr>
          <p:spPr>
            <a:xfrm>
              <a:off x="3691413" y="1881956"/>
              <a:ext cx="3990975" cy="1104900"/>
            </a:xfrm>
            <a:custGeom>
              <a:avLst/>
              <a:gdLst>
                <a:gd name="connsiteX0" fmla="*/ 2409349 w 3990975"/>
                <a:gd name="connsiteY0" fmla="*/ 292601 h 1104900"/>
                <a:gd name="connsiteX1" fmla="*/ 2409349 w 3990975"/>
                <a:gd name="connsiteY1" fmla="*/ 1086033 h 1104900"/>
                <a:gd name="connsiteX2" fmla="*/ 2241709 w 3990975"/>
                <a:gd name="connsiteY2" fmla="*/ 1086033 h 1104900"/>
                <a:gd name="connsiteX3" fmla="*/ 2241709 w 3990975"/>
                <a:gd name="connsiteY3" fmla="*/ 409758 h 1104900"/>
                <a:gd name="connsiteX4" fmla="*/ 2199799 w 3990975"/>
                <a:gd name="connsiteY4" fmla="*/ 301173 h 1104900"/>
                <a:gd name="connsiteX5" fmla="*/ 2199799 w 3990975"/>
                <a:gd name="connsiteY5" fmla="*/ 291648 h 1104900"/>
                <a:gd name="connsiteX6" fmla="*/ 2409349 w 3990975"/>
                <a:gd name="connsiteY6" fmla="*/ 291648 h 1104900"/>
                <a:gd name="connsiteX7" fmla="*/ 1794034 w 3990975"/>
                <a:gd name="connsiteY7" fmla="*/ 493578 h 1104900"/>
                <a:gd name="connsiteX8" fmla="*/ 1779746 w 3990975"/>
                <a:gd name="connsiteY8" fmla="*/ 291648 h 1104900"/>
                <a:gd name="connsiteX9" fmla="*/ 1582579 w 3990975"/>
                <a:gd name="connsiteY9" fmla="*/ 291648 h 1104900"/>
                <a:gd name="connsiteX10" fmla="*/ 1582579 w 3990975"/>
                <a:gd name="connsiteY10" fmla="*/ 301173 h 1104900"/>
                <a:gd name="connsiteX11" fmla="*/ 1624489 w 3990975"/>
                <a:gd name="connsiteY11" fmla="*/ 409758 h 1104900"/>
                <a:gd name="connsiteX12" fmla="*/ 1624489 w 3990975"/>
                <a:gd name="connsiteY12" fmla="*/ 1086033 h 1104900"/>
                <a:gd name="connsiteX13" fmla="*/ 1795939 w 3990975"/>
                <a:gd name="connsiteY13" fmla="*/ 1086033 h 1104900"/>
                <a:gd name="connsiteX14" fmla="*/ 1791176 w 3990975"/>
                <a:gd name="connsiteY14" fmla="*/ 792663 h 1104900"/>
                <a:gd name="connsiteX15" fmla="*/ 1832134 w 3990975"/>
                <a:gd name="connsiteY15" fmla="*/ 597401 h 1104900"/>
                <a:gd name="connsiteX16" fmla="*/ 2094071 w 3990975"/>
                <a:gd name="connsiteY16" fmla="*/ 453573 h 1104900"/>
                <a:gd name="connsiteX17" fmla="*/ 2105501 w 3990975"/>
                <a:gd name="connsiteY17" fmla="*/ 453573 h 1104900"/>
                <a:gd name="connsiteX18" fmla="*/ 2105501 w 3990975"/>
                <a:gd name="connsiteY18" fmla="*/ 302126 h 1104900"/>
                <a:gd name="connsiteX19" fmla="*/ 1794034 w 3990975"/>
                <a:gd name="connsiteY19" fmla="*/ 493578 h 1104900"/>
                <a:gd name="connsiteX20" fmla="*/ 479584 w 3990975"/>
                <a:gd name="connsiteY20" fmla="*/ 644073 h 1104900"/>
                <a:gd name="connsiteX21" fmla="*/ 758666 w 3990975"/>
                <a:gd name="connsiteY21" fmla="*/ 292601 h 1104900"/>
                <a:gd name="connsiteX22" fmla="*/ 623411 w 3990975"/>
                <a:gd name="connsiteY22" fmla="*/ 292601 h 1104900"/>
                <a:gd name="connsiteX23" fmla="*/ 424339 w 3990975"/>
                <a:gd name="connsiteY23" fmla="*/ 565968 h 1104900"/>
                <a:gd name="connsiteX24" fmla="*/ 239554 w 3990975"/>
                <a:gd name="connsiteY24" fmla="*/ 292601 h 1104900"/>
                <a:gd name="connsiteX25" fmla="*/ 7144 w 3990975"/>
                <a:gd name="connsiteY25" fmla="*/ 292601 h 1104900"/>
                <a:gd name="connsiteX26" fmla="*/ 7144 w 3990975"/>
                <a:gd name="connsiteY26" fmla="*/ 304983 h 1104900"/>
                <a:gd name="connsiteX27" fmla="*/ 100489 w 3990975"/>
                <a:gd name="connsiteY27" fmla="*/ 389756 h 1104900"/>
                <a:gd name="connsiteX28" fmla="*/ 321469 w 3990975"/>
                <a:gd name="connsiteY28" fmla="*/ 691698 h 1104900"/>
                <a:gd name="connsiteX29" fmla="*/ 9049 w 3990975"/>
                <a:gd name="connsiteY29" fmla="*/ 1086033 h 1104900"/>
                <a:gd name="connsiteX30" fmla="*/ 155734 w 3990975"/>
                <a:gd name="connsiteY30" fmla="*/ 1086033 h 1104900"/>
                <a:gd name="connsiteX31" fmla="*/ 376714 w 3990975"/>
                <a:gd name="connsiteY31" fmla="*/ 765041 h 1104900"/>
                <a:gd name="connsiteX32" fmla="*/ 577691 w 3990975"/>
                <a:gd name="connsiteY32" fmla="*/ 1086033 h 1104900"/>
                <a:gd name="connsiteX33" fmla="*/ 800576 w 3990975"/>
                <a:gd name="connsiteY33" fmla="*/ 1086033 h 1104900"/>
                <a:gd name="connsiteX34" fmla="*/ 479584 w 3990975"/>
                <a:gd name="connsiteY34" fmla="*/ 644073 h 1104900"/>
                <a:gd name="connsiteX35" fmla="*/ 3928586 w 3990975"/>
                <a:gd name="connsiteY35" fmla="*/ 335463 h 1104900"/>
                <a:gd name="connsiteX36" fmla="*/ 3693319 w 3990975"/>
                <a:gd name="connsiteY36" fmla="*/ 273551 h 1104900"/>
                <a:gd name="connsiteX37" fmla="*/ 3398997 w 3990975"/>
                <a:gd name="connsiteY37" fmla="*/ 501198 h 1104900"/>
                <a:gd name="connsiteX38" fmla="*/ 3828574 w 3990975"/>
                <a:gd name="connsiteY38" fmla="*/ 897438 h 1104900"/>
                <a:gd name="connsiteX39" fmla="*/ 3662839 w 3990975"/>
                <a:gd name="connsiteY39" fmla="*/ 1009833 h 1104900"/>
                <a:gd name="connsiteX40" fmla="*/ 3410426 w 3990975"/>
                <a:gd name="connsiteY40" fmla="*/ 888866 h 1104900"/>
                <a:gd name="connsiteX41" fmla="*/ 3400901 w 3990975"/>
                <a:gd name="connsiteY41" fmla="*/ 888866 h 1104900"/>
                <a:gd name="connsiteX42" fmla="*/ 3400901 w 3990975"/>
                <a:gd name="connsiteY42" fmla="*/ 1057458 h 1104900"/>
                <a:gd name="connsiteX43" fmla="*/ 3645694 w 3990975"/>
                <a:gd name="connsiteY43" fmla="*/ 1103178 h 1104900"/>
                <a:gd name="connsiteX44" fmla="*/ 3989547 w 3990975"/>
                <a:gd name="connsiteY44" fmla="*/ 847908 h 1104900"/>
                <a:gd name="connsiteX45" fmla="*/ 3562826 w 3990975"/>
                <a:gd name="connsiteY45" fmla="*/ 441191 h 1104900"/>
                <a:gd name="connsiteX46" fmla="*/ 3687604 w 3990975"/>
                <a:gd name="connsiteY46" fmla="*/ 358323 h 1104900"/>
                <a:gd name="connsiteX47" fmla="*/ 3920014 w 3990975"/>
                <a:gd name="connsiteY47" fmla="*/ 483101 h 1104900"/>
                <a:gd name="connsiteX48" fmla="*/ 3929539 w 3990975"/>
                <a:gd name="connsiteY48" fmla="*/ 483101 h 1104900"/>
                <a:gd name="connsiteX49" fmla="*/ 3929539 w 3990975"/>
                <a:gd name="connsiteY49" fmla="*/ 335463 h 1104900"/>
                <a:gd name="connsiteX50" fmla="*/ 1455896 w 3990975"/>
                <a:gd name="connsiteY50" fmla="*/ 911726 h 1104900"/>
                <a:gd name="connsiteX51" fmla="*/ 1444466 w 3990975"/>
                <a:gd name="connsiteY51" fmla="*/ 911726 h 1104900"/>
                <a:gd name="connsiteX52" fmla="*/ 1183481 w 3990975"/>
                <a:gd name="connsiteY52" fmla="*/ 1006976 h 1104900"/>
                <a:gd name="connsiteX53" fmla="*/ 971074 w 3990975"/>
                <a:gd name="connsiteY53" fmla="*/ 695508 h 1104900"/>
                <a:gd name="connsiteX54" fmla="*/ 1496854 w 3990975"/>
                <a:gd name="connsiteY54" fmla="*/ 695508 h 1104900"/>
                <a:gd name="connsiteX55" fmla="*/ 1153954 w 3990975"/>
                <a:gd name="connsiteY55" fmla="*/ 277361 h 1104900"/>
                <a:gd name="connsiteX56" fmla="*/ 781526 w 3990975"/>
                <a:gd name="connsiteY56" fmla="*/ 667886 h 1104900"/>
                <a:gd name="connsiteX57" fmla="*/ 1172051 w 3990975"/>
                <a:gd name="connsiteY57" fmla="*/ 1103178 h 1104900"/>
                <a:gd name="connsiteX58" fmla="*/ 1441609 w 3990975"/>
                <a:gd name="connsiteY58" fmla="*/ 1021263 h 1104900"/>
                <a:gd name="connsiteX59" fmla="*/ 1455896 w 3990975"/>
                <a:gd name="connsiteY59" fmla="*/ 911726 h 1104900"/>
                <a:gd name="connsiteX60" fmla="*/ 974884 w 3990975"/>
                <a:gd name="connsiteY60" fmla="*/ 602163 h 1104900"/>
                <a:gd name="connsiteX61" fmla="*/ 1169194 w 3990975"/>
                <a:gd name="connsiteY61" fmla="*/ 363086 h 1104900"/>
                <a:gd name="connsiteX62" fmla="*/ 1336834 w 3990975"/>
                <a:gd name="connsiteY62" fmla="*/ 602163 h 1104900"/>
                <a:gd name="connsiteX63" fmla="*/ 974884 w 3990975"/>
                <a:gd name="connsiteY63" fmla="*/ 602163 h 1104900"/>
                <a:gd name="connsiteX64" fmla="*/ 3071336 w 3990975"/>
                <a:gd name="connsiteY64" fmla="*/ 292601 h 1104900"/>
                <a:gd name="connsiteX65" fmla="*/ 3071336 w 3990975"/>
                <a:gd name="connsiteY65" fmla="*/ 302126 h 1104900"/>
                <a:gd name="connsiteX66" fmla="*/ 3110389 w 3990975"/>
                <a:gd name="connsiteY66" fmla="*/ 412616 h 1104900"/>
                <a:gd name="connsiteX67" fmla="*/ 3110389 w 3990975"/>
                <a:gd name="connsiteY67" fmla="*/ 712653 h 1104900"/>
                <a:gd name="connsiteX68" fmla="*/ 2932272 w 3990975"/>
                <a:gd name="connsiteY68" fmla="*/ 1013643 h 1104900"/>
                <a:gd name="connsiteX69" fmla="*/ 2754154 w 3990975"/>
                <a:gd name="connsiteY69" fmla="*/ 712653 h 1104900"/>
                <a:gd name="connsiteX70" fmla="*/ 2754154 w 3990975"/>
                <a:gd name="connsiteY70" fmla="*/ 292601 h 1104900"/>
                <a:gd name="connsiteX71" fmla="*/ 2547461 w 3990975"/>
                <a:gd name="connsiteY71" fmla="*/ 292601 h 1104900"/>
                <a:gd name="connsiteX72" fmla="*/ 2547461 w 3990975"/>
                <a:gd name="connsiteY72" fmla="*/ 302126 h 1104900"/>
                <a:gd name="connsiteX73" fmla="*/ 2586514 w 3990975"/>
                <a:gd name="connsiteY73" fmla="*/ 412616 h 1104900"/>
                <a:gd name="connsiteX74" fmla="*/ 2586514 w 3990975"/>
                <a:gd name="connsiteY74" fmla="*/ 737418 h 1104900"/>
                <a:gd name="connsiteX75" fmla="*/ 2932272 w 3990975"/>
                <a:gd name="connsiteY75" fmla="*/ 1106036 h 1104900"/>
                <a:gd name="connsiteX76" fmla="*/ 3278029 w 3990975"/>
                <a:gd name="connsiteY76" fmla="*/ 737418 h 1104900"/>
                <a:gd name="connsiteX77" fmla="*/ 3278029 w 3990975"/>
                <a:gd name="connsiteY77" fmla="*/ 292601 h 1104900"/>
                <a:gd name="connsiteX78" fmla="*/ 3071336 w 3990975"/>
                <a:gd name="connsiteY78" fmla="*/ 292601 h 1104900"/>
                <a:gd name="connsiteX79" fmla="*/ 2322671 w 3990975"/>
                <a:gd name="connsiteY79" fmla="*/ 198303 h 1104900"/>
                <a:gd name="connsiteX80" fmla="*/ 2417921 w 3990975"/>
                <a:gd name="connsiteY80" fmla="*/ 92576 h 1104900"/>
                <a:gd name="connsiteX81" fmla="*/ 2335054 w 3990975"/>
                <a:gd name="connsiteY81" fmla="*/ 7803 h 1104900"/>
                <a:gd name="connsiteX82" fmla="*/ 2227421 w 3990975"/>
                <a:gd name="connsiteY82" fmla="*/ 102101 h 1104900"/>
                <a:gd name="connsiteX83" fmla="*/ 2322671 w 3990975"/>
                <a:gd name="connsiteY83" fmla="*/ 198303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90975" h="1104900">
                  <a:moveTo>
                    <a:pt x="2409349" y="292601"/>
                  </a:moveTo>
                  <a:lnTo>
                    <a:pt x="2409349" y="1086033"/>
                  </a:lnTo>
                  <a:lnTo>
                    <a:pt x="2241709" y="1086033"/>
                  </a:lnTo>
                  <a:lnTo>
                    <a:pt x="2241709" y="409758"/>
                  </a:lnTo>
                  <a:cubicBezTo>
                    <a:pt x="2241709" y="338321"/>
                    <a:pt x="2199799" y="301173"/>
                    <a:pt x="2199799" y="301173"/>
                  </a:cubicBezTo>
                  <a:lnTo>
                    <a:pt x="2199799" y="291648"/>
                  </a:lnTo>
                  <a:lnTo>
                    <a:pt x="2409349" y="291648"/>
                  </a:lnTo>
                  <a:close/>
                  <a:moveTo>
                    <a:pt x="1794034" y="493578"/>
                  </a:moveTo>
                  <a:cubicBezTo>
                    <a:pt x="1792129" y="386898"/>
                    <a:pt x="1779746" y="291648"/>
                    <a:pt x="1779746" y="291648"/>
                  </a:cubicBezTo>
                  <a:lnTo>
                    <a:pt x="1582579" y="291648"/>
                  </a:lnTo>
                  <a:lnTo>
                    <a:pt x="1582579" y="301173"/>
                  </a:lnTo>
                  <a:cubicBezTo>
                    <a:pt x="1582579" y="301173"/>
                    <a:pt x="1624489" y="338321"/>
                    <a:pt x="1624489" y="409758"/>
                  </a:cubicBezTo>
                  <a:lnTo>
                    <a:pt x="1624489" y="1086033"/>
                  </a:lnTo>
                  <a:lnTo>
                    <a:pt x="1795939" y="1086033"/>
                  </a:lnTo>
                  <a:cubicBezTo>
                    <a:pt x="1795939" y="1086033"/>
                    <a:pt x="1791176" y="943158"/>
                    <a:pt x="1791176" y="792663"/>
                  </a:cubicBezTo>
                  <a:cubicBezTo>
                    <a:pt x="1791176" y="735513"/>
                    <a:pt x="1800701" y="659313"/>
                    <a:pt x="1832134" y="597401"/>
                  </a:cubicBezTo>
                  <a:cubicBezTo>
                    <a:pt x="1957864" y="352608"/>
                    <a:pt x="2094071" y="453573"/>
                    <a:pt x="2094071" y="453573"/>
                  </a:cubicBezTo>
                  <a:lnTo>
                    <a:pt x="2105501" y="453573"/>
                  </a:lnTo>
                  <a:lnTo>
                    <a:pt x="2105501" y="302126"/>
                  </a:lnTo>
                  <a:cubicBezTo>
                    <a:pt x="1985486" y="260216"/>
                    <a:pt x="1876901" y="352608"/>
                    <a:pt x="1794034" y="493578"/>
                  </a:cubicBezTo>
                  <a:moveTo>
                    <a:pt x="479584" y="644073"/>
                  </a:moveTo>
                  <a:lnTo>
                    <a:pt x="758666" y="292601"/>
                  </a:lnTo>
                  <a:lnTo>
                    <a:pt x="623411" y="292601"/>
                  </a:lnTo>
                  <a:lnTo>
                    <a:pt x="424339" y="565968"/>
                  </a:lnTo>
                  <a:lnTo>
                    <a:pt x="239554" y="292601"/>
                  </a:lnTo>
                  <a:lnTo>
                    <a:pt x="7144" y="292601"/>
                  </a:lnTo>
                  <a:lnTo>
                    <a:pt x="7144" y="304983"/>
                  </a:lnTo>
                  <a:cubicBezTo>
                    <a:pt x="7144" y="304983"/>
                    <a:pt x="30956" y="303078"/>
                    <a:pt x="100489" y="389756"/>
                  </a:cubicBezTo>
                  <a:lnTo>
                    <a:pt x="321469" y="691698"/>
                  </a:lnTo>
                  <a:lnTo>
                    <a:pt x="9049" y="1086033"/>
                  </a:lnTo>
                  <a:lnTo>
                    <a:pt x="155734" y="1086033"/>
                  </a:lnTo>
                  <a:lnTo>
                    <a:pt x="376714" y="765041"/>
                  </a:lnTo>
                  <a:lnTo>
                    <a:pt x="577691" y="1086033"/>
                  </a:lnTo>
                  <a:lnTo>
                    <a:pt x="800576" y="1086033"/>
                  </a:lnTo>
                  <a:lnTo>
                    <a:pt x="479584" y="644073"/>
                  </a:lnTo>
                  <a:close/>
                  <a:moveTo>
                    <a:pt x="3928586" y="335463"/>
                  </a:moveTo>
                  <a:cubicBezTo>
                    <a:pt x="3928586" y="335463"/>
                    <a:pt x="3819049" y="273551"/>
                    <a:pt x="3693319" y="273551"/>
                  </a:cubicBezTo>
                  <a:cubicBezTo>
                    <a:pt x="3530441" y="273551"/>
                    <a:pt x="3381851" y="349751"/>
                    <a:pt x="3398997" y="501198"/>
                  </a:cubicBezTo>
                  <a:cubicBezTo>
                    <a:pt x="3422809" y="710748"/>
                    <a:pt x="3828574" y="698366"/>
                    <a:pt x="3828574" y="897438"/>
                  </a:cubicBezTo>
                  <a:cubicBezTo>
                    <a:pt x="3828574" y="957446"/>
                    <a:pt x="3782854" y="1009833"/>
                    <a:pt x="3662839" y="1009833"/>
                  </a:cubicBezTo>
                  <a:cubicBezTo>
                    <a:pt x="3471386" y="1009833"/>
                    <a:pt x="3410426" y="888866"/>
                    <a:pt x="3410426" y="888866"/>
                  </a:cubicBezTo>
                  <a:lnTo>
                    <a:pt x="3400901" y="888866"/>
                  </a:lnTo>
                  <a:lnTo>
                    <a:pt x="3400901" y="1057458"/>
                  </a:lnTo>
                  <a:cubicBezTo>
                    <a:pt x="3400901" y="1057458"/>
                    <a:pt x="3495199" y="1103178"/>
                    <a:pt x="3645694" y="1103178"/>
                  </a:cubicBezTo>
                  <a:cubicBezTo>
                    <a:pt x="3860959" y="1103178"/>
                    <a:pt x="3989547" y="1014596"/>
                    <a:pt x="3989547" y="847908"/>
                  </a:cubicBezTo>
                  <a:cubicBezTo>
                    <a:pt x="3989547" y="586923"/>
                    <a:pt x="3562826" y="603116"/>
                    <a:pt x="3562826" y="441191"/>
                  </a:cubicBezTo>
                  <a:cubicBezTo>
                    <a:pt x="3562826" y="384041"/>
                    <a:pt x="3626644" y="362133"/>
                    <a:pt x="3687604" y="358323"/>
                  </a:cubicBezTo>
                  <a:cubicBezTo>
                    <a:pt x="3853339" y="347846"/>
                    <a:pt x="3920014" y="483101"/>
                    <a:pt x="3920014" y="483101"/>
                  </a:cubicBezTo>
                  <a:lnTo>
                    <a:pt x="3929539" y="483101"/>
                  </a:lnTo>
                  <a:lnTo>
                    <a:pt x="3929539" y="335463"/>
                  </a:lnTo>
                  <a:close/>
                  <a:moveTo>
                    <a:pt x="1455896" y="911726"/>
                  </a:moveTo>
                  <a:lnTo>
                    <a:pt x="1444466" y="911726"/>
                  </a:lnTo>
                  <a:cubicBezTo>
                    <a:pt x="1444466" y="911726"/>
                    <a:pt x="1369219" y="1006976"/>
                    <a:pt x="1183481" y="1006976"/>
                  </a:cubicBezTo>
                  <a:cubicBezTo>
                    <a:pt x="1049179" y="1006976"/>
                    <a:pt x="957739" y="868863"/>
                    <a:pt x="971074" y="695508"/>
                  </a:cubicBezTo>
                  <a:lnTo>
                    <a:pt x="1496854" y="695508"/>
                  </a:lnTo>
                  <a:cubicBezTo>
                    <a:pt x="1511141" y="541203"/>
                    <a:pt x="1456849" y="277361"/>
                    <a:pt x="1153954" y="277361"/>
                  </a:cubicBezTo>
                  <a:cubicBezTo>
                    <a:pt x="957739" y="277361"/>
                    <a:pt x="781526" y="445001"/>
                    <a:pt x="781526" y="667886"/>
                  </a:cubicBezTo>
                  <a:cubicBezTo>
                    <a:pt x="781526" y="890771"/>
                    <a:pt x="892969" y="1103178"/>
                    <a:pt x="1172051" y="1103178"/>
                  </a:cubicBezTo>
                  <a:cubicBezTo>
                    <a:pt x="1355884" y="1103178"/>
                    <a:pt x="1441609" y="1021263"/>
                    <a:pt x="1441609" y="1021263"/>
                  </a:cubicBezTo>
                  <a:lnTo>
                    <a:pt x="1455896" y="911726"/>
                  </a:lnTo>
                  <a:close/>
                  <a:moveTo>
                    <a:pt x="974884" y="602163"/>
                  </a:moveTo>
                  <a:cubicBezTo>
                    <a:pt x="979646" y="492626"/>
                    <a:pt x="1045369" y="363086"/>
                    <a:pt x="1169194" y="363086"/>
                  </a:cubicBezTo>
                  <a:cubicBezTo>
                    <a:pt x="1298734" y="363086"/>
                    <a:pt x="1345406" y="504056"/>
                    <a:pt x="1336834" y="602163"/>
                  </a:cubicBezTo>
                  <a:lnTo>
                    <a:pt x="974884" y="602163"/>
                  </a:lnTo>
                  <a:close/>
                  <a:moveTo>
                    <a:pt x="3071336" y="292601"/>
                  </a:moveTo>
                  <a:lnTo>
                    <a:pt x="3071336" y="302126"/>
                  </a:lnTo>
                  <a:cubicBezTo>
                    <a:pt x="3071336" y="302126"/>
                    <a:pt x="3110389" y="331653"/>
                    <a:pt x="3110389" y="412616"/>
                  </a:cubicBezTo>
                  <a:lnTo>
                    <a:pt x="3110389" y="712653"/>
                  </a:lnTo>
                  <a:cubicBezTo>
                    <a:pt x="3110389" y="913631"/>
                    <a:pt x="3058954" y="1013643"/>
                    <a:pt x="2932272" y="1013643"/>
                  </a:cubicBezTo>
                  <a:cubicBezTo>
                    <a:pt x="2806541" y="1013643"/>
                    <a:pt x="2754154" y="921251"/>
                    <a:pt x="2754154" y="712653"/>
                  </a:cubicBezTo>
                  <a:lnTo>
                    <a:pt x="2754154" y="292601"/>
                  </a:lnTo>
                  <a:lnTo>
                    <a:pt x="2547461" y="292601"/>
                  </a:lnTo>
                  <a:lnTo>
                    <a:pt x="2547461" y="302126"/>
                  </a:lnTo>
                  <a:cubicBezTo>
                    <a:pt x="2547461" y="302126"/>
                    <a:pt x="2586514" y="331653"/>
                    <a:pt x="2586514" y="412616"/>
                  </a:cubicBezTo>
                  <a:lnTo>
                    <a:pt x="2586514" y="737418"/>
                  </a:lnTo>
                  <a:cubicBezTo>
                    <a:pt x="2586514" y="1067936"/>
                    <a:pt x="2800826" y="1106036"/>
                    <a:pt x="2932272" y="1106036"/>
                  </a:cubicBezTo>
                  <a:cubicBezTo>
                    <a:pt x="3064669" y="1106036"/>
                    <a:pt x="3278029" y="1061268"/>
                    <a:pt x="3278029" y="737418"/>
                  </a:cubicBezTo>
                  <a:lnTo>
                    <a:pt x="3278029" y="292601"/>
                  </a:lnTo>
                  <a:lnTo>
                    <a:pt x="3071336" y="292601"/>
                  </a:lnTo>
                  <a:close/>
                  <a:moveTo>
                    <a:pt x="2322671" y="198303"/>
                  </a:moveTo>
                  <a:cubicBezTo>
                    <a:pt x="2378869" y="198303"/>
                    <a:pt x="2423636" y="150678"/>
                    <a:pt x="2417921" y="92576"/>
                  </a:cubicBezTo>
                  <a:cubicBezTo>
                    <a:pt x="2413159" y="48761"/>
                    <a:pt x="2377916" y="12566"/>
                    <a:pt x="2335054" y="7803"/>
                  </a:cubicBezTo>
                  <a:cubicBezTo>
                    <a:pt x="2276951" y="1136"/>
                    <a:pt x="2227421" y="45903"/>
                    <a:pt x="2227421" y="102101"/>
                  </a:cubicBezTo>
                  <a:cubicBezTo>
                    <a:pt x="2226469" y="156393"/>
                    <a:pt x="2269331" y="198303"/>
                    <a:pt x="2322671" y="198303"/>
                  </a:cubicBezTo>
                </a:path>
              </a:pathLst>
            </a:custGeom>
            <a:grpFill/>
            <a:ln w="9525" cap="flat">
              <a:noFill/>
              <a:prstDash val="solid"/>
              <a:miter/>
            </a:ln>
          </p:spPr>
          <p:txBody>
            <a:bodyPr rtlCol="0" anchor="ctr"/>
            <a:lstStyle/>
            <a:p>
              <a:endParaRPr lang="en-GB" sz="2400" noProof="0"/>
            </a:p>
          </p:txBody>
        </p:sp>
      </p:grpSp>
    </p:spTree>
    <p:extLst>
      <p:ext uri="{BB962C8B-B14F-4D97-AF65-F5344CB8AC3E}">
        <p14:creationId xmlns:p14="http://schemas.microsoft.com/office/powerpoint/2010/main" val="322974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and text - left under">
    <p:spTree>
      <p:nvGrpSpPr>
        <p:cNvPr id="1" name=""/>
        <p:cNvGrpSpPr/>
        <p:nvPr/>
      </p:nvGrpSpPr>
      <p:grpSpPr>
        <a:xfrm>
          <a:off x="0" y="0"/>
          <a:ext cx="0" cy="0"/>
          <a:chOff x="0" y="0"/>
          <a:chExt cx="0" cy="0"/>
        </a:xfrm>
      </p:grpSpPr>
      <p:sp>
        <p:nvSpPr>
          <p:cNvPr id="6" name="Picture Placeholder 5"/>
          <p:cNvSpPr>
            <a:spLocks noGrp="1" noChangeAspect="1"/>
          </p:cNvSpPr>
          <p:nvPr>
            <p:ph type="pic" sz="quarter" idx="12" hasCustomPrompt="1"/>
          </p:nvPr>
        </p:nvSpPr>
        <p:spPr>
          <a:xfrm>
            <a:off x="0" y="5"/>
            <a:ext cx="12192000" cy="6232525"/>
          </a:xfrm>
          <a:prstGeom prst="rect">
            <a:avLst/>
          </a:prstGeom>
          <a:solidFill>
            <a:schemeClr val="bg1">
              <a:lumMod val="95000"/>
            </a:schemeClr>
          </a:solidFill>
        </p:spPr>
        <p:txBody>
          <a:bodyPr lIns="360000" anchor="ctr"/>
          <a:lstStyle>
            <a:lvl1pPr marL="0" indent="0">
              <a:buNone/>
              <a:defRPr/>
            </a:lvl1pPr>
          </a:lstStyle>
          <a:p>
            <a:r>
              <a:rPr lang="nl-NL" dirty="0"/>
              <a:t>Click icon </a:t>
            </a:r>
            <a:r>
              <a:rPr lang="nl-NL" dirty="0" err="1"/>
              <a:t>to</a:t>
            </a:r>
            <a:r>
              <a:rPr lang="nl-NL" dirty="0"/>
              <a:t> </a:t>
            </a:r>
            <a:r>
              <a:rPr lang="nl-NL" dirty="0" err="1"/>
              <a:t>insert</a:t>
            </a:r>
            <a:r>
              <a:rPr lang="nl-NL" dirty="0"/>
              <a:t> </a:t>
            </a:r>
            <a:r>
              <a:rPr lang="nl-NL" dirty="0" err="1"/>
              <a:t>an</a:t>
            </a:r>
            <a:r>
              <a:rPr lang="nl-NL" dirty="0"/>
              <a:t> image</a:t>
            </a:r>
            <a:endParaRPr lang="en-US" dirty="0"/>
          </a:p>
        </p:txBody>
      </p:sp>
      <p:sp>
        <p:nvSpPr>
          <p:cNvPr id="2" name="Titel 1"/>
          <p:cNvSpPr>
            <a:spLocks noGrp="1"/>
          </p:cNvSpPr>
          <p:nvPr>
            <p:ph type="title" hasCustomPrompt="1"/>
          </p:nvPr>
        </p:nvSpPr>
        <p:spPr>
          <a:xfrm>
            <a:off x="-497629" y="5222075"/>
            <a:ext cx="5374433" cy="653034"/>
          </a:xfrm>
          <a:prstGeom prst="parallelogram">
            <a:avLst/>
          </a:prstGeom>
          <a:solidFill>
            <a:schemeClr val="bg1"/>
          </a:solidFill>
        </p:spPr>
        <p:txBody>
          <a:bodyPr lIns="216000" tIns="108000" rIns="108000" bIns="108000">
            <a:spAutoFit/>
          </a:bodyPr>
          <a:lstStyle>
            <a:lvl1pPr>
              <a:defRPr sz="2000" b="0" i="0">
                <a:solidFill>
                  <a:srgbClr val="7C2855"/>
                </a:solidFill>
                <a:latin typeface="Arial" charset="0"/>
                <a:ea typeface="Arial" charset="0"/>
                <a:cs typeface="Arial" charset="0"/>
              </a:defRPr>
            </a:lvl1pPr>
          </a:lstStyle>
          <a:p>
            <a:r>
              <a:rPr lang="nl-NL" dirty="0" err="1"/>
              <a:t>Insert</a:t>
            </a:r>
            <a:r>
              <a:rPr lang="nl-NL" dirty="0"/>
              <a:t> t</a:t>
            </a:r>
            <a:r>
              <a:rPr lang="en-GB" noProof="0" dirty="0"/>
              <a:t>e</a:t>
            </a:r>
            <a:r>
              <a:rPr lang="nl-NL" dirty="0" err="1"/>
              <a:t>xt</a:t>
            </a:r>
            <a:endParaRPr lang="nl-NL" dirty="0"/>
          </a:p>
        </p:txBody>
      </p:sp>
      <p:sp>
        <p:nvSpPr>
          <p:cNvPr id="3" name="Tijdelijke aanduiding voor dianummer 2"/>
          <p:cNvSpPr>
            <a:spLocks noGrp="1"/>
          </p:cNvSpPr>
          <p:nvPr>
            <p:ph type="sldNum" sz="quarter" idx="10"/>
          </p:nvPr>
        </p:nvSpPr>
        <p:spPr/>
        <p:txBody>
          <a:bodyPr/>
          <a:lstStyle/>
          <a:p>
            <a:pPr marL="25400">
              <a:lnSpc>
                <a:spcPts val="1110"/>
              </a:lnSpc>
            </a:pPr>
            <a:fld id="{81D60167-4931-47E6-BA6A-407CBD079E47}" type="slidenum">
              <a:rPr lang="tr-TR" smtClean="0"/>
              <a:pPr marL="25400">
                <a:lnSpc>
                  <a:spcPts val="1110"/>
                </a:lnSpc>
              </a:pPr>
              <a:t>‹nr.›</a:t>
            </a:fld>
            <a:endParaRPr lang="tr-TR" dirty="0"/>
          </a:p>
        </p:txBody>
      </p:sp>
    </p:spTree>
    <p:extLst>
      <p:ext uri="{BB962C8B-B14F-4D97-AF65-F5344CB8AC3E}">
        <p14:creationId xmlns:p14="http://schemas.microsoft.com/office/powerpoint/2010/main" val="40586323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and text - right up">
    <p:spTree>
      <p:nvGrpSpPr>
        <p:cNvPr id="1" name=""/>
        <p:cNvGrpSpPr/>
        <p:nvPr/>
      </p:nvGrpSpPr>
      <p:grpSpPr>
        <a:xfrm>
          <a:off x="0" y="0"/>
          <a:ext cx="0" cy="0"/>
          <a:chOff x="0" y="0"/>
          <a:chExt cx="0" cy="0"/>
        </a:xfrm>
      </p:grpSpPr>
      <p:sp>
        <p:nvSpPr>
          <p:cNvPr id="6" name="Picture Placeholder 5"/>
          <p:cNvSpPr>
            <a:spLocks noGrp="1" noChangeAspect="1"/>
          </p:cNvSpPr>
          <p:nvPr>
            <p:ph type="pic" sz="quarter" idx="12" hasCustomPrompt="1"/>
          </p:nvPr>
        </p:nvSpPr>
        <p:spPr>
          <a:xfrm>
            <a:off x="0" y="5"/>
            <a:ext cx="12192000" cy="6232525"/>
          </a:xfrm>
          <a:prstGeom prst="rect">
            <a:avLst/>
          </a:prstGeom>
          <a:solidFill>
            <a:schemeClr val="bg1">
              <a:lumMod val="95000"/>
            </a:schemeClr>
          </a:solidFill>
        </p:spPr>
        <p:txBody>
          <a:bodyPr lIns="360000" anchor="ctr"/>
          <a:lstStyle>
            <a:lvl1pPr marL="0" marR="0" indent="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None/>
              <a:tabLst/>
              <a:defRPr/>
            </a:lvl1pPr>
          </a:lstStyle>
          <a:p>
            <a:pPr marL="0" marR="0" lvl="0" indent="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None/>
              <a:tabLst/>
              <a:defRPr/>
            </a:pPr>
            <a:r>
              <a:rPr lang="nl-NL" dirty="0"/>
              <a:t>Click icon </a:t>
            </a:r>
            <a:r>
              <a:rPr lang="nl-NL" dirty="0" err="1"/>
              <a:t>to</a:t>
            </a:r>
            <a:r>
              <a:rPr lang="nl-NL" dirty="0"/>
              <a:t> </a:t>
            </a:r>
            <a:r>
              <a:rPr lang="nl-NL" dirty="0" err="1"/>
              <a:t>insert</a:t>
            </a:r>
            <a:r>
              <a:rPr lang="nl-NL" dirty="0"/>
              <a:t> </a:t>
            </a:r>
            <a:r>
              <a:rPr lang="nl-NL" dirty="0" err="1"/>
              <a:t>an</a:t>
            </a:r>
            <a:r>
              <a:rPr lang="nl-NL" dirty="0"/>
              <a:t> image</a:t>
            </a:r>
            <a:endParaRPr lang="en-US" dirty="0"/>
          </a:p>
        </p:txBody>
      </p:sp>
      <p:sp>
        <p:nvSpPr>
          <p:cNvPr id="2" name="Titel 1"/>
          <p:cNvSpPr>
            <a:spLocks noGrp="1"/>
          </p:cNvSpPr>
          <p:nvPr>
            <p:ph type="title" hasCustomPrompt="1"/>
          </p:nvPr>
        </p:nvSpPr>
        <p:spPr>
          <a:xfrm>
            <a:off x="7240558" y="519448"/>
            <a:ext cx="5374433" cy="653034"/>
          </a:xfrm>
          <a:prstGeom prst="parallelogram">
            <a:avLst/>
          </a:prstGeom>
          <a:solidFill>
            <a:schemeClr val="bg1"/>
          </a:solidFill>
        </p:spPr>
        <p:txBody>
          <a:bodyPr lIns="108000" tIns="108000" rIns="216000" bIns="108000" anchor="t" anchorCtr="0">
            <a:spAutoFit/>
          </a:bodyPr>
          <a:lstStyle>
            <a:lvl1pPr>
              <a:defRPr sz="2000" b="0" i="0">
                <a:solidFill>
                  <a:srgbClr val="DC4405"/>
                </a:solidFill>
                <a:latin typeface="Arial" charset="0"/>
                <a:ea typeface="Arial" charset="0"/>
                <a:cs typeface="Arial" charset="0"/>
              </a:defRPr>
            </a:lvl1pPr>
          </a:lstStyle>
          <a:p>
            <a:r>
              <a:rPr lang="nl-NL" dirty="0" err="1"/>
              <a:t>Insert</a:t>
            </a:r>
            <a:r>
              <a:rPr lang="nl-NL" dirty="0"/>
              <a:t> </a:t>
            </a:r>
            <a:r>
              <a:rPr lang="nl-NL" dirty="0" err="1"/>
              <a:t>text</a:t>
            </a:r>
            <a:endParaRPr lang="nl-NL" dirty="0"/>
          </a:p>
        </p:txBody>
      </p:sp>
      <p:sp>
        <p:nvSpPr>
          <p:cNvPr id="3" name="Tijdelijke aanduiding voor dianummer 2"/>
          <p:cNvSpPr>
            <a:spLocks noGrp="1"/>
          </p:cNvSpPr>
          <p:nvPr>
            <p:ph type="sldNum" sz="quarter" idx="10"/>
          </p:nvPr>
        </p:nvSpPr>
        <p:spPr/>
        <p:txBody>
          <a:bodyPr/>
          <a:lstStyle/>
          <a:p>
            <a:pPr marL="25400">
              <a:lnSpc>
                <a:spcPts val="1110"/>
              </a:lnSpc>
            </a:pPr>
            <a:fld id="{81D60167-4931-47E6-BA6A-407CBD079E47}" type="slidenum">
              <a:rPr lang="tr-TR" smtClean="0"/>
              <a:pPr marL="25400">
                <a:lnSpc>
                  <a:spcPts val="1110"/>
                </a:lnSpc>
              </a:pPr>
              <a:t>‹nr.›</a:t>
            </a:fld>
            <a:endParaRPr lang="tr-TR" dirty="0"/>
          </a:p>
        </p:txBody>
      </p:sp>
    </p:spTree>
    <p:extLst>
      <p:ext uri="{BB962C8B-B14F-4D97-AF65-F5344CB8AC3E}">
        <p14:creationId xmlns:p14="http://schemas.microsoft.com/office/powerpoint/2010/main" val="218924102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and text - left up">
    <p:spTree>
      <p:nvGrpSpPr>
        <p:cNvPr id="1" name=""/>
        <p:cNvGrpSpPr/>
        <p:nvPr/>
      </p:nvGrpSpPr>
      <p:grpSpPr>
        <a:xfrm>
          <a:off x="0" y="0"/>
          <a:ext cx="0" cy="0"/>
          <a:chOff x="0" y="0"/>
          <a:chExt cx="0" cy="0"/>
        </a:xfrm>
      </p:grpSpPr>
      <p:sp>
        <p:nvSpPr>
          <p:cNvPr id="6" name="Picture Placeholder 5"/>
          <p:cNvSpPr>
            <a:spLocks noGrp="1" noChangeAspect="1"/>
          </p:cNvSpPr>
          <p:nvPr>
            <p:ph type="pic" sz="quarter" idx="12" hasCustomPrompt="1"/>
          </p:nvPr>
        </p:nvSpPr>
        <p:spPr>
          <a:xfrm>
            <a:off x="0" y="5"/>
            <a:ext cx="12192000" cy="6232525"/>
          </a:xfrm>
          <a:prstGeom prst="rect">
            <a:avLst/>
          </a:prstGeom>
          <a:solidFill>
            <a:schemeClr val="bg1">
              <a:lumMod val="95000"/>
            </a:schemeClr>
          </a:solidFill>
        </p:spPr>
        <p:txBody>
          <a:bodyPr lIns="360000" anchor="ctr"/>
          <a:lstStyle>
            <a:lvl1pPr marL="0" indent="0">
              <a:buNone/>
              <a:defRPr/>
            </a:lvl1pPr>
          </a:lstStyle>
          <a:p>
            <a:r>
              <a:rPr lang="nl-NL" dirty="0"/>
              <a:t>Click icon </a:t>
            </a:r>
            <a:r>
              <a:rPr lang="nl-NL" dirty="0" err="1"/>
              <a:t>to</a:t>
            </a:r>
            <a:r>
              <a:rPr lang="nl-NL" dirty="0"/>
              <a:t> </a:t>
            </a:r>
            <a:r>
              <a:rPr lang="nl-NL" dirty="0" err="1"/>
              <a:t>insert</a:t>
            </a:r>
            <a:r>
              <a:rPr lang="nl-NL" dirty="0"/>
              <a:t> </a:t>
            </a:r>
            <a:r>
              <a:rPr lang="nl-NL" dirty="0" err="1"/>
              <a:t>an</a:t>
            </a:r>
            <a:r>
              <a:rPr lang="nl-NL" dirty="0"/>
              <a:t> image</a:t>
            </a:r>
            <a:endParaRPr lang="en-US" dirty="0"/>
          </a:p>
        </p:txBody>
      </p:sp>
      <p:sp>
        <p:nvSpPr>
          <p:cNvPr id="2" name="Titel 1"/>
          <p:cNvSpPr>
            <a:spLocks noGrp="1"/>
          </p:cNvSpPr>
          <p:nvPr>
            <p:ph type="title" hasCustomPrompt="1"/>
          </p:nvPr>
        </p:nvSpPr>
        <p:spPr>
          <a:xfrm>
            <a:off x="-497629" y="518401"/>
            <a:ext cx="5374433" cy="653034"/>
          </a:xfrm>
          <a:prstGeom prst="parallelogram">
            <a:avLst/>
          </a:prstGeom>
          <a:solidFill>
            <a:schemeClr val="bg1"/>
          </a:solidFill>
        </p:spPr>
        <p:txBody>
          <a:bodyPr lIns="216000" tIns="108000" rIns="108000" bIns="108000" anchor="t" anchorCtr="0">
            <a:spAutoFit/>
          </a:bodyPr>
          <a:lstStyle>
            <a:lvl1pPr>
              <a:defRPr sz="2000" b="0" i="0">
                <a:solidFill>
                  <a:srgbClr val="7C2855"/>
                </a:solidFill>
                <a:latin typeface="Arial" charset="0"/>
                <a:ea typeface="Arial" charset="0"/>
                <a:cs typeface="Arial" charset="0"/>
              </a:defRPr>
            </a:lvl1pPr>
          </a:lstStyle>
          <a:p>
            <a:r>
              <a:rPr lang="nl-NL" dirty="0" err="1"/>
              <a:t>Insert</a:t>
            </a:r>
            <a:r>
              <a:rPr lang="nl-NL" dirty="0"/>
              <a:t> </a:t>
            </a:r>
            <a:r>
              <a:rPr lang="en-GB" noProof="0" dirty="0"/>
              <a:t>t</a:t>
            </a:r>
            <a:r>
              <a:rPr lang="nl-NL" dirty="0" err="1"/>
              <a:t>ext</a:t>
            </a:r>
            <a:endParaRPr lang="nl-NL" dirty="0"/>
          </a:p>
        </p:txBody>
      </p:sp>
      <p:sp>
        <p:nvSpPr>
          <p:cNvPr id="3" name="Tijdelijke aanduiding voor dianummer 2"/>
          <p:cNvSpPr>
            <a:spLocks noGrp="1"/>
          </p:cNvSpPr>
          <p:nvPr>
            <p:ph type="sldNum" sz="quarter" idx="10"/>
          </p:nvPr>
        </p:nvSpPr>
        <p:spPr/>
        <p:txBody>
          <a:bodyPr/>
          <a:lstStyle/>
          <a:p>
            <a:pPr marL="25400">
              <a:lnSpc>
                <a:spcPts val="1110"/>
              </a:lnSpc>
            </a:pPr>
            <a:fld id="{81D60167-4931-47E6-BA6A-407CBD079E47}" type="slidenum">
              <a:rPr lang="tr-TR" smtClean="0"/>
              <a:pPr marL="25400">
                <a:lnSpc>
                  <a:spcPts val="1110"/>
                </a:lnSpc>
              </a:pPr>
              <a:t>‹nr.›</a:t>
            </a:fld>
            <a:endParaRPr lang="tr-TR" dirty="0"/>
          </a:p>
        </p:txBody>
      </p:sp>
    </p:spTree>
    <p:extLst>
      <p:ext uri="{BB962C8B-B14F-4D97-AF65-F5344CB8AC3E}">
        <p14:creationId xmlns:p14="http://schemas.microsoft.com/office/powerpoint/2010/main" val="10609913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pic>
        <p:nvPicPr>
          <p:cNvPr id="5" name="Afbeelding 4"/>
          <p:cNvPicPr>
            <a:picLocks/>
          </p:cNvPicPr>
          <p:nvPr userDrawn="1"/>
        </p:nvPicPr>
        <p:blipFill rotWithShape="1">
          <a:blip r:embed="rId2" cstate="print">
            <a:extLst>
              <a:ext uri="{28A0092B-C50C-407E-A947-70E740481C1C}">
                <a14:useLocalDpi xmlns:a14="http://schemas.microsoft.com/office/drawing/2010/main" val="0"/>
              </a:ext>
            </a:extLst>
          </a:blip>
          <a:srcRect b="25197"/>
          <a:stretch/>
        </p:blipFill>
        <p:spPr>
          <a:xfrm>
            <a:off x="-20567" y="-726"/>
            <a:ext cx="12235136" cy="6866747"/>
          </a:xfrm>
          <a:prstGeom prst="rect">
            <a:avLst/>
          </a:prstGeom>
        </p:spPr>
      </p:pic>
      <p:sp>
        <p:nvSpPr>
          <p:cNvPr id="3" name="Tijdelijke aanduiding voor tekst 2"/>
          <p:cNvSpPr>
            <a:spLocks noGrp="1"/>
          </p:cNvSpPr>
          <p:nvPr>
            <p:ph type="body" sz="quarter" idx="10" hasCustomPrompt="1"/>
          </p:nvPr>
        </p:nvSpPr>
        <p:spPr>
          <a:xfrm>
            <a:off x="1263652" y="3091029"/>
            <a:ext cx="8949357" cy="692497"/>
          </a:xfrm>
          <a:prstGeom prst="rect">
            <a:avLst/>
          </a:prstGeom>
        </p:spPr>
        <p:txBody>
          <a:bodyPr wrap="square" anchor="ctr">
            <a:spAutoFit/>
          </a:bodyPr>
          <a:lstStyle>
            <a:lvl1pPr marL="0" indent="0">
              <a:lnSpc>
                <a:spcPct val="100000"/>
              </a:lnSpc>
              <a:spcBef>
                <a:spcPts val="0"/>
              </a:spcBef>
              <a:spcAft>
                <a:spcPts val="600"/>
              </a:spcAft>
              <a:buClr>
                <a:schemeClr val="bg1"/>
              </a:buClr>
              <a:buSzPct val="200000"/>
              <a:buFont typeface="Systeemlettertype"/>
              <a:buNone/>
              <a:tabLst/>
              <a:defRPr sz="45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Insert a quote”</a:t>
            </a:r>
          </a:p>
        </p:txBody>
      </p:sp>
      <p:pic>
        <p:nvPicPr>
          <p:cNvPr id="6" name="Picture 7">
            <a:extLst>
              <a:ext uri="{FF2B5EF4-FFF2-40B4-BE49-F238E27FC236}">
                <a16:creationId xmlns:a16="http://schemas.microsoft.com/office/drawing/2014/main" id="{C9FBF432-C022-6E4B-A022-C05BF9322BD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82908" y="6353666"/>
            <a:ext cx="1024136" cy="460392"/>
          </a:xfrm>
          <a:prstGeom prst="rect">
            <a:avLst/>
          </a:prstGeom>
        </p:spPr>
      </p:pic>
    </p:spTree>
    <p:extLst>
      <p:ext uri="{BB962C8B-B14F-4D97-AF65-F5344CB8AC3E}">
        <p14:creationId xmlns:p14="http://schemas.microsoft.com/office/powerpoint/2010/main" val="42209480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6272277"/>
            <a:ext cx="12192000" cy="600456"/>
          </a:xfrm>
          <a:prstGeom prst="rect">
            <a:avLst/>
          </a:prstGeom>
        </p:spPr>
      </p:pic>
      <p:sp>
        <p:nvSpPr>
          <p:cNvPr id="6" name="Holder 6"/>
          <p:cNvSpPr>
            <a:spLocks noGrp="1"/>
          </p:cNvSpPr>
          <p:nvPr>
            <p:ph type="sldNum" sz="quarter" idx="7"/>
          </p:nvPr>
        </p:nvSpPr>
        <p:spPr>
          <a:xfrm>
            <a:off x="604800" y="6526318"/>
            <a:ext cx="492035" cy="141064"/>
          </a:xfrm>
        </p:spPr>
        <p:txBody>
          <a:bodyPr lIns="0" tIns="0" rIns="0" bIns="0"/>
          <a:lstStyle>
            <a:lvl1pPr>
              <a:defRPr sz="1000" b="0" i="0">
                <a:solidFill>
                  <a:schemeClr val="bg1"/>
                </a:solidFill>
                <a:latin typeface="Arial"/>
                <a:cs typeface="Arial"/>
              </a:defRPr>
            </a:lvl1pPr>
          </a:lstStyle>
          <a:p>
            <a:pPr marL="25400">
              <a:lnSpc>
                <a:spcPts val="1110"/>
              </a:lnSpc>
            </a:pPr>
            <a:fld id="{81D60167-4931-47E6-BA6A-407CBD079E47}" type="slidenum">
              <a:rPr lang="tr-TR" smtClean="0"/>
              <a:pPr marL="25400">
                <a:lnSpc>
                  <a:spcPts val="1110"/>
                </a:lnSpc>
              </a:pPr>
              <a:t>‹nr.›</a:t>
            </a:fld>
            <a:endParaRPr lang="tr-TR" dirty="0"/>
          </a:p>
        </p:txBody>
      </p:sp>
      <p:sp>
        <p:nvSpPr>
          <p:cNvPr id="9" name="Holder 2"/>
          <p:cNvSpPr>
            <a:spLocks noGrp="1"/>
          </p:cNvSpPr>
          <p:nvPr>
            <p:ph type="title" hasCustomPrompt="1"/>
          </p:nvPr>
        </p:nvSpPr>
        <p:spPr>
          <a:xfrm>
            <a:off x="604800" y="695584"/>
            <a:ext cx="10980000" cy="384721"/>
          </a:xfrm>
        </p:spPr>
        <p:txBody>
          <a:bodyPr lIns="0" tIns="0" rIns="0" bIns="0">
            <a:noAutofit/>
          </a:bodyPr>
          <a:lstStyle>
            <a:lvl1pPr>
              <a:defRPr sz="3500" b="0" i="0" spc="0">
                <a:solidFill>
                  <a:srgbClr val="7C2855"/>
                </a:solidFill>
                <a:latin typeface="Arial Standaard" charset="0"/>
                <a:cs typeface="Arial Standaard" charset="0"/>
              </a:defRPr>
            </a:lvl1pPr>
          </a:lstStyle>
          <a:p>
            <a:r>
              <a:rPr lang="en-GB" noProof="0"/>
              <a:t>Insert contact</a:t>
            </a:r>
          </a:p>
        </p:txBody>
      </p:sp>
      <p:sp>
        <p:nvSpPr>
          <p:cNvPr id="31" name="Tijdelijke aanduiding voor tekst 8"/>
          <p:cNvSpPr>
            <a:spLocks noGrp="1"/>
          </p:cNvSpPr>
          <p:nvPr>
            <p:ph type="body" sz="quarter" idx="10" hasCustomPrompt="1"/>
          </p:nvPr>
        </p:nvSpPr>
        <p:spPr>
          <a:xfrm>
            <a:off x="1469736" y="1909482"/>
            <a:ext cx="5563076" cy="617176"/>
          </a:xfrm>
          <a:prstGeom prst="rect">
            <a:avLst/>
          </a:prstGeom>
        </p:spPr>
        <p:txBody>
          <a:bodyPr anchor="ctr">
            <a:noAutofit/>
          </a:bodyPr>
          <a:lstStyle>
            <a:lvl1pPr marL="0" indent="0">
              <a:lnSpc>
                <a:spcPct val="100000"/>
              </a:lnSpc>
              <a:spcAft>
                <a:spcPts val="600"/>
              </a:spcAft>
              <a:buNone/>
              <a:defRPr sz="1600" b="0" baseline="0">
                <a:solidFill>
                  <a:schemeClr val="tx1"/>
                </a:solidFill>
              </a:defRPr>
            </a:lvl1pPr>
          </a:lstStyle>
          <a:p>
            <a:pPr lvl="0"/>
            <a:r>
              <a:rPr lang="en-GB" noProof="0"/>
              <a:t>Insert your name</a:t>
            </a:r>
          </a:p>
        </p:txBody>
      </p:sp>
      <p:sp>
        <p:nvSpPr>
          <p:cNvPr id="33" name="Holder 3"/>
          <p:cNvSpPr>
            <a:spLocks noGrp="1"/>
          </p:cNvSpPr>
          <p:nvPr>
            <p:ph sz="half" idx="11" hasCustomPrompt="1"/>
          </p:nvPr>
        </p:nvSpPr>
        <p:spPr>
          <a:xfrm>
            <a:off x="1469736" y="2827215"/>
            <a:ext cx="5563076" cy="516092"/>
          </a:xfrm>
          <a:prstGeom prst="rect">
            <a:avLst/>
          </a:prstGeom>
        </p:spPr>
        <p:txBody>
          <a:bodyPr wrap="square" lIns="0" tIns="0" rIns="0" bIns="0" anchor="ctr">
            <a:noAutofit/>
          </a:bodyPr>
          <a:lstStyle>
            <a:lvl1pPr marL="0" indent="0" algn="l">
              <a:lnSpc>
                <a:spcPct val="100000"/>
              </a:lnSpc>
              <a:spcBef>
                <a:spcPts val="600"/>
              </a:spcBef>
              <a:spcAft>
                <a:spcPts val="600"/>
              </a:spcAft>
              <a:buClr>
                <a:schemeClr val="accent5"/>
              </a:buClr>
              <a:buSzPct val="100000"/>
              <a:buFont typeface="Arial" charset="0"/>
              <a:buNone/>
              <a:tabLst/>
              <a:defRPr sz="1600" b="0" baseline="0">
                <a:solidFill>
                  <a:schemeClr val="tx1"/>
                </a:solidFill>
              </a:defRPr>
            </a:lvl1pPr>
            <a:lvl2pPr marL="0" indent="0">
              <a:spcBef>
                <a:spcPts val="400"/>
              </a:spcBef>
              <a:spcAft>
                <a:spcPts val="0"/>
              </a:spcAft>
              <a:buClr>
                <a:schemeClr val="accent5"/>
              </a:buClr>
              <a:buSzPct val="100000"/>
              <a:buFont typeface="+mj-lt"/>
              <a:buNone/>
              <a:tabLst/>
              <a:defRPr sz="1400" baseline="0">
                <a:solidFill>
                  <a:srgbClr val="75787B"/>
                </a:solidFill>
                <a:latin typeface="Arial" charset="0"/>
                <a:ea typeface="Arial Hebrew" charset="-79"/>
                <a:cs typeface="Arial"/>
              </a:defRPr>
            </a:lvl2pPr>
            <a:lvl3pPr marL="180000" indent="-180000" algn="l">
              <a:spcBef>
                <a:spcPts val="200"/>
              </a:spcBef>
              <a:spcAft>
                <a:spcPts val="0"/>
              </a:spcAft>
              <a:buClr>
                <a:schemeClr val="accent5"/>
              </a:buClr>
              <a:buSzPct val="100000"/>
              <a:buFont typeface=".AppleSystemUIFont" charset="-120"/>
              <a:buChar char="-"/>
              <a:tabLst/>
              <a:defRPr sz="1400" b="0" i="0" baseline="0">
                <a:solidFill>
                  <a:srgbClr val="75787B"/>
                </a:solidFill>
                <a:latin typeface="Arial" charset="0"/>
                <a:ea typeface="Arial" charset="0"/>
                <a:cs typeface="Arial" charset="0"/>
              </a:defRPr>
            </a:lvl3pPr>
            <a:lvl4pPr marL="360000" indent="-180000">
              <a:spcBef>
                <a:spcPts val="200"/>
              </a:spcBef>
              <a:spcAft>
                <a:spcPts val="0"/>
              </a:spcAft>
              <a:buClr>
                <a:schemeClr val="accent5"/>
              </a:buClr>
              <a:buFont typeface="LucidaGrande" charset="0"/>
              <a:buChar char="-"/>
              <a:defRPr sz="1400" b="0" i="0" baseline="0">
                <a:solidFill>
                  <a:srgbClr val="75787B"/>
                </a:solidFill>
                <a:latin typeface="Arial" charset="0"/>
                <a:ea typeface="Arial" charset="0"/>
                <a:cs typeface="Arial" charset="0"/>
              </a:defRPr>
            </a:lvl4pPr>
            <a:lvl5pPr marL="540000" indent="-180000" algn="l">
              <a:spcBef>
                <a:spcPts val="200"/>
              </a:spcBef>
              <a:spcAft>
                <a:spcPts val="0"/>
              </a:spcAft>
              <a:buClr>
                <a:schemeClr val="accent5"/>
              </a:buClr>
              <a:buFont typeface=".AppleSystemUIFont" charset="-120"/>
              <a:buChar char="-"/>
              <a:defRPr sz="1400" baseline="0">
                <a:solidFill>
                  <a:srgbClr val="75787B"/>
                </a:solidFill>
                <a:latin typeface="Arial" charset="0"/>
                <a:ea typeface="Arial" charset="0"/>
                <a:cs typeface="Arial" charset="0"/>
              </a:defRPr>
            </a:lvl5pPr>
            <a:lvl6pPr marL="720000" indent="-180000" algn="l">
              <a:spcBef>
                <a:spcPts val="200"/>
              </a:spcBef>
              <a:spcAft>
                <a:spcPts val="0"/>
              </a:spcAft>
              <a:buClr>
                <a:srgbClr val="7C2855"/>
              </a:buClr>
              <a:buFont typeface=".AppleSystemUIFont" charset="-120"/>
              <a:buChar char="-"/>
              <a:tabLst/>
              <a:defRPr sz="1400" b="0" i="0" baseline="0">
                <a:solidFill>
                  <a:srgbClr val="75787B"/>
                </a:solidFill>
                <a:latin typeface="Arial" charset="0"/>
                <a:ea typeface="Arial" charset="0"/>
                <a:cs typeface="Arial" charset="0"/>
              </a:defRPr>
            </a:lvl6pPr>
            <a:lvl7pPr marL="900000" indent="-180000">
              <a:spcBef>
                <a:spcPts val="200"/>
              </a:spcBef>
              <a:spcAft>
                <a:spcPts val="0"/>
              </a:spcAft>
              <a:buClr>
                <a:srgbClr val="7C2855"/>
              </a:buClr>
              <a:buFont typeface=".AppleSystemUIFont" charset="-120"/>
              <a:buChar char="-"/>
              <a:tabLst/>
              <a:defRPr sz="1400" baseline="0">
                <a:solidFill>
                  <a:srgbClr val="75787B"/>
                </a:solidFill>
              </a:defRPr>
            </a:lvl7pPr>
            <a:lvl8pPr marL="1080000" indent="-180000">
              <a:spcBef>
                <a:spcPts val="200"/>
              </a:spcBef>
              <a:spcAft>
                <a:spcPts val="0"/>
              </a:spcAft>
              <a:buClr>
                <a:srgbClr val="7C2855"/>
              </a:buClr>
              <a:buFont typeface=".AppleSystemUIFont" charset="-120"/>
              <a:buChar char="-"/>
              <a:tabLst/>
              <a:defRPr sz="1400" baseline="0">
                <a:solidFill>
                  <a:srgbClr val="75787B"/>
                </a:solidFill>
              </a:defRPr>
            </a:lvl8pPr>
            <a:lvl9pPr marL="1260000" indent="-180000">
              <a:spcBef>
                <a:spcPts val="200"/>
              </a:spcBef>
              <a:spcAft>
                <a:spcPts val="0"/>
              </a:spcAft>
              <a:buClr>
                <a:srgbClr val="7C2855"/>
              </a:buClr>
              <a:buFont typeface=".AppleSystemUIFont" charset="-120"/>
              <a:buChar char="-"/>
              <a:tabLst/>
              <a:defRPr sz="1400" baseline="0">
                <a:solidFill>
                  <a:srgbClr val="75787B"/>
                </a:solidFill>
              </a:defRPr>
            </a:lvl9pPr>
          </a:lstStyle>
          <a:p>
            <a:pPr lvl="0"/>
            <a:r>
              <a:rPr lang="en-GB" noProof="0"/>
              <a:t>Insert your telephone or mobile number</a:t>
            </a:r>
          </a:p>
        </p:txBody>
      </p:sp>
      <p:sp>
        <p:nvSpPr>
          <p:cNvPr id="35" name="Holder 3"/>
          <p:cNvSpPr>
            <a:spLocks noGrp="1"/>
          </p:cNvSpPr>
          <p:nvPr>
            <p:ph type="subTitle" idx="4" hasCustomPrompt="1"/>
          </p:nvPr>
        </p:nvSpPr>
        <p:spPr>
          <a:xfrm>
            <a:off x="1469736" y="4640420"/>
            <a:ext cx="5563076" cy="516092"/>
          </a:xfrm>
          <a:prstGeom prst="rect">
            <a:avLst/>
          </a:prstGeom>
        </p:spPr>
        <p:txBody>
          <a:bodyPr wrap="square" lIns="0" tIns="0" rIns="0" bIns="0" anchor="ctr">
            <a:noAutofit/>
          </a:bodyPr>
          <a:lstStyle>
            <a:lvl1pPr marL="0" indent="0">
              <a:lnSpc>
                <a:spcPct val="100000"/>
              </a:lnSpc>
              <a:spcBef>
                <a:spcPts val="200"/>
              </a:spcBef>
              <a:spcAft>
                <a:spcPts val="600"/>
              </a:spcAft>
              <a:buNone/>
              <a:defRPr sz="1600" b="0" i="0" baseline="0">
                <a:solidFill>
                  <a:schemeClr val="tx1"/>
                </a:solidFill>
                <a:latin typeface="Arial" charset="0"/>
                <a:ea typeface="Arial" charset="0"/>
                <a:cs typeface="Arial" charset="0"/>
              </a:defRPr>
            </a:lvl1pPr>
            <a:lvl2pPr marL="12700" indent="0">
              <a:spcBef>
                <a:spcPts val="200"/>
              </a:spcBef>
              <a:spcAft>
                <a:spcPts val="200"/>
              </a:spcAft>
              <a:tabLst/>
              <a:defRPr sz="1400" b="0" i="0">
                <a:solidFill>
                  <a:schemeClr val="bg1"/>
                </a:solidFill>
                <a:latin typeface="Arial" charset="0"/>
                <a:ea typeface="Arial" charset="0"/>
                <a:cs typeface="Arial" charset="0"/>
              </a:defRPr>
            </a:lvl2pPr>
          </a:lstStyle>
          <a:p>
            <a:r>
              <a:rPr lang="en-GB" noProof="0"/>
              <a:t>Insert a link</a:t>
            </a:r>
          </a:p>
        </p:txBody>
      </p:sp>
      <p:pic>
        <p:nvPicPr>
          <p:cNvPr id="15" name="Picture 14" descr="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0468" y="6410311"/>
            <a:ext cx="969016" cy="347102"/>
          </a:xfrm>
          <a:prstGeom prst="rect">
            <a:avLst/>
          </a:prstGeom>
        </p:spPr>
      </p:pic>
      <p:pic>
        <p:nvPicPr>
          <p:cNvPr id="3" name="Graphic 2">
            <a:extLst>
              <a:ext uri="{FF2B5EF4-FFF2-40B4-BE49-F238E27FC236}">
                <a16:creationId xmlns:a16="http://schemas.microsoft.com/office/drawing/2014/main" id="{BC57BFAE-687F-2D49-AC08-A4027D174FD2}"/>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0154" y="1790864"/>
            <a:ext cx="793734" cy="793734"/>
          </a:xfrm>
          <a:prstGeom prst="rect">
            <a:avLst/>
          </a:prstGeom>
        </p:spPr>
      </p:pic>
      <p:pic>
        <p:nvPicPr>
          <p:cNvPr id="5" name="Graphic 4">
            <a:extLst>
              <a:ext uri="{FF2B5EF4-FFF2-40B4-BE49-F238E27FC236}">
                <a16:creationId xmlns:a16="http://schemas.microsoft.com/office/drawing/2014/main" id="{0E921406-6C23-F84A-B3DE-CFD8C247C1F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5007" y="2807520"/>
            <a:ext cx="357550" cy="555479"/>
          </a:xfrm>
          <a:prstGeom prst="rect">
            <a:avLst/>
          </a:prstGeom>
        </p:spPr>
      </p:pic>
      <p:pic>
        <p:nvPicPr>
          <p:cNvPr id="16" name="Graphic 15">
            <a:extLst>
              <a:ext uri="{FF2B5EF4-FFF2-40B4-BE49-F238E27FC236}">
                <a16:creationId xmlns:a16="http://schemas.microsoft.com/office/drawing/2014/main" id="{0FF59FED-A53A-9C41-852F-0D6B01F92C3F}"/>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9163" y="4627141"/>
            <a:ext cx="609238" cy="566484"/>
          </a:xfrm>
          <a:prstGeom prst="rect">
            <a:avLst/>
          </a:prstGeom>
        </p:spPr>
      </p:pic>
      <p:pic>
        <p:nvPicPr>
          <p:cNvPr id="17" name="Graphic 16">
            <a:extLst>
              <a:ext uri="{FF2B5EF4-FFF2-40B4-BE49-F238E27FC236}">
                <a16:creationId xmlns:a16="http://schemas.microsoft.com/office/drawing/2014/main" id="{EB6A613E-34F5-DC44-9F8D-190938632CBC}"/>
              </a:ext>
            </a:extLst>
          </p:cNvPr>
          <p:cNvPicPr>
            <a:picLocks noChangeAspect="1"/>
          </p:cNvPicPr>
          <p:nvPr userDrawn="1"/>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9005" y="3707164"/>
            <a:ext cx="569395" cy="569395"/>
          </a:xfrm>
          <a:prstGeom prst="rect">
            <a:avLst/>
          </a:prstGeom>
        </p:spPr>
      </p:pic>
      <p:sp>
        <p:nvSpPr>
          <p:cNvPr id="18" name="Holder 3">
            <a:extLst>
              <a:ext uri="{FF2B5EF4-FFF2-40B4-BE49-F238E27FC236}">
                <a16:creationId xmlns:a16="http://schemas.microsoft.com/office/drawing/2014/main" id="{3870F1E0-05A6-3B40-9404-64B366ED1323}"/>
              </a:ext>
            </a:extLst>
          </p:cNvPr>
          <p:cNvSpPr>
            <a:spLocks noGrp="1"/>
          </p:cNvSpPr>
          <p:nvPr>
            <p:ph sz="half" idx="12" hasCustomPrompt="1"/>
          </p:nvPr>
        </p:nvSpPr>
        <p:spPr>
          <a:xfrm>
            <a:off x="1469736" y="3733817"/>
            <a:ext cx="5563076" cy="516092"/>
          </a:xfrm>
          <a:prstGeom prst="rect">
            <a:avLst/>
          </a:prstGeom>
        </p:spPr>
        <p:txBody>
          <a:bodyPr wrap="square" lIns="0" tIns="0" rIns="0" bIns="0" anchor="ctr">
            <a:noAutofit/>
          </a:bodyPr>
          <a:lstStyle>
            <a:lvl1pPr marL="0" indent="0" algn="l">
              <a:lnSpc>
                <a:spcPct val="100000"/>
              </a:lnSpc>
              <a:spcBef>
                <a:spcPts val="600"/>
              </a:spcBef>
              <a:spcAft>
                <a:spcPts val="600"/>
              </a:spcAft>
              <a:buClr>
                <a:schemeClr val="accent5"/>
              </a:buClr>
              <a:buSzPct val="100000"/>
              <a:buFont typeface="Arial" charset="0"/>
              <a:buNone/>
              <a:tabLst/>
              <a:defRPr sz="1600" b="0" baseline="0">
                <a:solidFill>
                  <a:schemeClr val="tx1"/>
                </a:solidFill>
              </a:defRPr>
            </a:lvl1pPr>
            <a:lvl2pPr marL="0" indent="0">
              <a:spcBef>
                <a:spcPts val="400"/>
              </a:spcBef>
              <a:spcAft>
                <a:spcPts val="0"/>
              </a:spcAft>
              <a:buClr>
                <a:schemeClr val="accent5"/>
              </a:buClr>
              <a:buSzPct val="100000"/>
              <a:buFont typeface="+mj-lt"/>
              <a:buNone/>
              <a:tabLst/>
              <a:defRPr sz="1400" baseline="0">
                <a:solidFill>
                  <a:srgbClr val="75787B"/>
                </a:solidFill>
                <a:latin typeface="Arial" charset="0"/>
                <a:ea typeface="Arial Hebrew" charset="-79"/>
                <a:cs typeface="Arial"/>
              </a:defRPr>
            </a:lvl2pPr>
            <a:lvl3pPr marL="180000" indent="-180000" algn="l">
              <a:spcBef>
                <a:spcPts val="200"/>
              </a:spcBef>
              <a:spcAft>
                <a:spcPts val="0"/>
              </a:spcAft>
              <a:buClr>
                <a:schemeClr val="accent5"/>
              </a:buClr>
              <a:buSzPct val="100000"/>
              <a:buFont typeface=".AppleSystemUIFont" charset="-120"/>
              <a:buChar char="-"/>
              <a:tabLst/>
              <a:defRPr sz="1400" b="0" i="0" baseline="0">
                <a:solidFill>
                  <a:srgbClr val="75787B"/>
                </a:solidFill>
                <a:latin typeface="Arial" charset="0"/>
                <a:ea typeface="Arial" charset="0"/>
                <a:cs typeface="Arial" charset="0"/>
              </a:defRPr>
            </a:lvl3pPr>
            <a:lvl4pPr marL="360000" indent="-180000">
              <a:spcBef>
                <a:spcPts val="200"/>
              </a:spcBef>
              <a:spcAft>
                <a:spcPts val="0"/>
              </a:spcAft>
              <a:buClr>
                <a:schemeClr val="accent5"/>
              </a:buClr>
              <a:buFont typeface="LucidaGrande" charset="0"/>
              <a:buChar char="-"/>
              <a:defRPr sz="1400" b="0" i="0" baseline="0">
                <a:solidFill>
                  <a:srgbClr val="75787B"/>
                </a:solidFill>
                <a:latin typeface="Arial" charset="0"/>
                <a:ea typeface="Arial" charset="0"/>
                <a:cs typeface="Arial" charset="0"/>
              </a:defRPr>
            </a:lvl4pPr>
            <a:lvl5pPr marL="540000" indent="-180000" algn="l">
              <a:spcBef>
                <a:spcPts val="200"/>
              </a:spcBef>
              <a:spcAft>
                <a:spcPts val="0"/>
              </a:spcAft>
              <a:buClr>
                <a:schemeClr val="accent5"/>
              </a:buClr>
              <a:buFont typeface=".AppleSystemUIFont" charset="-120"/>
              <a:buChar char="-"/>
              <a:defRPr sz="1400" baseline="0">
                <a:solidFill>
                  <a:srgbClr val="75787B"/>
                </a:solidFill>
                <a:latin typeface="Arial" charset="0"/>
                <a:ea typeface="Arial" charset="0"/>
                <a:cs typeface="Arial" charset="0"/>
              </a:defRPr>
            </a:lvl5pPr>
            <a:lvl6pPr marL="720000" indent="-180000" algn="l">
              <a:spcBef>
                <a:spcPts val="200"/>
              </a:spcBef>
              <a:spcAft>
                <a:spcPts val="0"/>
              </a:spcAft>
              <a:buClr>
                <a:srgbClr val="7C2855"/>
              </a:buClr>
              <a:buFont typeface=".AppleSystemUIFont" charset="-120"/>
              <a:buChar char="-"/>
              <a:tabLst/>
              <a:defRPr sz="1400" b="0" i="0" baseline="0">
                <a:solidFill>
                  <a:srgbClr val="75787B"/>
                </a:solidFill>
                <a:latin typeface="Arial" charset="0"/>
                <a:ea typeface="Arial" charset="0"/>
                <a:cs typeface="Arial" charset="0"/>
              </a:defRPr>
            </a:lvl6pPr>
            <a:lvl7pPr marL="900000" indent="-180000">
              <a:spcBef>
                <a:spcPts val="200"/>
              </a:spcBef>
              <a:spcAft>
                <a:spcPts val="0"/>
              </a:spcAft>
              <a:buClr>
                <a:srgbClr val="7C2855"/>
              </a:buClr>
              <a:buFont typeface=".AppleSystemUIFont" charset="-120"/>
              <a:buChar char="-"/>
              <a:tabLst/>
              <a:defRPr sz="1400" baseline="0">
                <a:solidFill>
                  <a:srgbClr val="75787B"/>
                </a:solidFill>
              </a:defRPr>
            </a:lvl7pPr>
            <a:lvl8pPr marL="1080000" indent="-180000">
              <a:spcBef>
                <a:spcPts val="200"/>
              </a:spcBef>
              <a:spcAft>
                <a:spcPts val="0"/>
              </a:spcAft>
              <a:buClr>
                <a:srgbClr val="7C2855"/>
              </a:buClr>
              <a:buFont typeface=".AppleSystemUIFont" charset="-120"/>
              <a:buChar char="-"/>
              <a:tabLst/>
              <a:defRPr sz="1400" baseline="0">
                <a:solidFill>
                  <a:srgbClr val="75787B"/>
                </a:solidFill>
              </a:defRPr>
            </a:lvl8pPr>
            <a:lvl9pPr marL="1260000" indent="-180000">
              <a:spcBef>
                <a:spcPts val="200"/>
              </a:spcBef>
              <a:spcAft>
                <a:spcPts val="0"/>
              </a:spcAft>
              <a:buClr>
                <a:srgbClr val="7C2855"/>
              </a:buClr>
              <a:buFont typeface=".AppleSystemUIFont" charset="-120"/>
              <a:buChar char="-"/>
              <a:tabLst/>
              <a:defRPr sz="1400" baseline="0">
                <a:solidFill>
                  <a:srgbClr val="75787B"/>
                </a:solidFill>
              </a:defRPr>
            </a:lvl9pPr>
          </a:lstStyle>
          <a:p>
            <a:pPr lvl="0"/>
            <a:r>
              <a:rPr lang="en-GB" noProof="0"/>
              <a:t>Insert email info</a:t>
            </a:r>
          </a:p>
        </p:txBody>
      </p:sp>
      <p:grpSp>
        <p:nvGrpSpPr>
          <p:cNvPr id="19" name="Groep 18">
            <a:extLst>
              <a:ext uri="{FF2B5EF4-FFF2-40B4-BE49-F238E27FC236}">
                <a16:creationId xmlns:a16="http://schemas.microsoft.com/office/drawing/2014/main" id="{9852854E-E004-B24C-8488-0171BE9DBA3F}"/>
              </a:ext>
            </a:extLst>
          </p:cNvPr>
          <p:cNvGrpSpPr/>
          <p:nvPr userDrawn="1"/>
        </p:nvGrpSpPr>
        <p:grpSpPr>
          <a:xfrm>
            <a:off x="604800" y="2640902"/>
            <a:ext cx="6381934" cy="1804086"/>
            <a:chOff x="650878" y="2640902"/>
            <a:chExt cx="8498858" cy="1804086"/>
          </a:xfrm>
        </p:grpSpPr>
        <p:cxnSp>
          <p:nvCxnSpPr>
            <p:cNvPr id="8" name="Rechte verbindingslijn 7">
              <a:extLst>
                <a:ext uri="{FF2B5EF4-FFF2-40B4-BE49-F238E27FC236}">
                  <a16:creationId xmlns:a16="http://schemas.microsoft.com/office/drawing/2014/main" id="{C5F75BCB-D659-2B4D-B144-58C2A0E76720}"/>
                </a:ext>
              </a:extLst>
            </p:cNvPr>
            <p:cNvCxnSpPr>
              <a:cxnSpLocks/>
            </p:cNvCxnSpPr>
            <p:nvPr userDrawn="1"/>
          </p:nvCxnSpPr>
          <p:spPr>
            <a:xfrm>
              <a:off x="650878" y="2640902"/>
              <a:ext cx="8498858" cy="0"/>
            </a:xfrm>
            <a:prstGeom prst="line">
              <a:avLst/>
            </a:prstGeom>
            <a:ln w="1016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Rechte verbindingslijn 21">
              <a:extLst>
                <a:ext uri="{FF2B5EF4-FFF2-40B4-BE49-F238E27FC236}">
                  <a16:creationId xmlns:a16="http://schemas.microsoft.com/office/drawing/2014/main" id="{A30C0FDE-9FA4-8049-ABB2-08AB5A922431}"/>
                </a:ext>
              </a:extLst>
            </p:cNvPr>
            <p:cNvCxnSpPr>
              <a:cxnSpLocks/>
            </p:cNvCxnSpPr>
            <p:nvPr userDrawn="1"/>
          </p:nvCxnSpPr>
          <p:spPr>
            <a:xfrm>
              <a:off x="650878" y="3571777"/>
              <a:ext cx="8498858" cy="0"/>
            </a:xfrm>
            <a:prstGeom prst="line">
              <a:avLst/>
            </a:prstGeom>
            <a:ln w="1016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3" name="Rechte verbindingslijn 22">
              <a:extLst>
                <a:ext uri="{FF2B5EF4-FFF2-40B4-BE49-F238E27FC236}">
                  <a16:creationId xmlns:a16="http://schemas.microsoft.com/office/drawing/2014/main" id="{2509A870-3441-9F4F-87FC-1CAC8B592540}"/>
                </a:ext>
              </a:extLst>
            </p:cNvPr>
            <p:cNvCxnSpPr>
              <a:cxnSpLocks/>
            </p:cNvCxnSpPr>
            <p:nvPr userDrawn="1"/>
          </p:nvCxnSpPr>
          <p:spPr>
            <a:xfrm>
              <a:off x="650878" y="4444988"/>
              <a:ext cx="8498858" cy="0"/>
            </a:xfrm>
            <a:prstGeom prst="line">
              <a:avLst/>
            </a:prstGeom>
            <a:ln w="10160">
              <a:solidFill>
                <a:schemeClr val="tx2"/>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22674510"/>
      </p:ext>
    </p:extLst>
  </p:cSld>
  <p:clrMapOvr>
    <a:masterClrMapping/>
  </p:clrMapOvr>
  <p:extLst>
    <p:ext uri="{DCECCB84-F9BA-43D5-87BE-67443E8EF086}">
      <p15:sldGuideLst xmlns:p15="http://schemas.microsoft.com/office/powerpoint/2012/main">
        <p15:guide id="1" pos="604">
          <p15:clr>
            <a:srgbClr val="FBAE40"/>
          </p15:clr>
        </p15:guide>
        <p15:guide id="2"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7" name="Afbeelding 4"/>
          <p:cNvPicPr>
            <a:picLocks noChangeAspect="1"/>
          </p:cNvPicPr>
          <p:nvPr userDrawn="1"/>
        </p:nvPicPr>
        <p:blipFill rotWithShape="1">
          <a:blip r:embed="rId2" cstate="print">
            <a:extLst>
              <a:ext uri="{28A0092B-C50C-407E-A947-70E740481C1C}">
                <a14:useLocalDpi xmlns:a14="http://schemas.microsoft.com/office/drawing/2010/main" val="0"/>
              </a:ext>
            </a:extLst>
          </a:blip>
          <a:srcRect t="24928"/>
          <a:stretch/>
        </p:blipFill>
        <p:spPr>
          <a:xfrm rot="10800000" flipV="1">
            <a:off x="-7487" y="-16042"/>
            <a:ext cx="12235136" cy="6891316"/>
          </a:xfrm>
          <a:prstGeom prst="rect">
            <a:avLst/>
          </a:prstGeom>
        </p:spPr>
      </p:pic>
      <p:sp>
        <p:nvSpPr>
          <p:cNvPr id="2" name="Holder 2"/>
          <p:cNvSpPr>
            <a:spLocks noGrp="1"/>
          </p:cNvSpPr>
          <p:nvPr>
            <p:ph type="ctrTitle" hasCustomPrompt="1"/>
          </p:nvPr>
        </p:nvSpPr>
        <p:spPr>
          <a:xfrm>
            <a:off x="960000" y="2278368"/>
            <a:ext cx="6792685" cy="769441"/>
          </a:xfrm>
          <a:prstGeom prst="rect">
            <a:avLst/>
          </a:prstGeom>
        </p:spPr>
        <p:txBody>
          <a:bodyPr wrap="square" lIns="0" tIns="0" rIns="0" bIns="0" anchor="b">
            <a:spAutoFit/>
          </a:bodyPr>
          <a:lstStyle>
            <a:lvl1pPr>
              <a:lnSpc>
                <a:spcPct val="100000"/>
              </a:lnSpc>
              <a:spcAft>
                <a:spcPts val="600"/>
              </a:spcAft>
              <a:defRPr sz="5000" b="1" i="0">
                <a:solidFill>
                  <a:schemeClr val="bg1"/>
                </a:solidFill>
                <a:latin typeface="Arial" charset="0"/>
                <a:ea typeface="Arial" charset="0"/>
                <a:cs typeface="Arial" charset="0"/>
              </a:defRPr>
            </a:lvl1pPr>
          </a:lstStyle>
          <a:p>
            <a:r>
              <a:rPr lang="en-GB" noProof="0"/>
              <a:t>Insert thank you</a:t>
            </a:r>
          </a:p>
        </p:txBody>
      </p:sp>
      <p:sp>
        <p:nvSpPr>
          <p:cNvPr id="3" name="Holder 3"/>
          <p:cNvSpPr>
            <a:spLocks noGrp="1"/>
          </p:cNvSpPr>
          <p:nvPr>
            <p:ph type="subTitle" idx="4" hasCustomPrompt="1"/>
          </p:nvPr>
        </p:nvSpPr>
        <p:spPr>
          <a:xfrm>
            <a:off x="960003" y="3656303"/>
            <a:ext cx="6798495" cy="384721"/>
          </a:xfrm>
          <a:prstGeom prst="rect">
            <a:avLst/>
          </a:prstGeom>
        </p:spPr>
        <p:txBody>
          <a:bodyPr wrap="square" lIns="0" tIns="0" rIns="0" bIns="0">
            <a:spAutoFit/>
          </a:bodyPr>
          <a:lstStyle>
            <a:lvl1pPr marL="0" indent="0">
              <a:lnSpc>
                <a:spcPct val="100000"/>
              </a:lnSpc>
              <a:spcAft>
                <a:spcPts val="600"/>
              </a:spcAft>
              <a:buNone/>
              <a:defRPr sz="2500" b="0">
                <a:solidFill>
                  <a:schemeClr val="bg1"/>
                </a:solidFill>
              </a:defRPr>
            </a:lvl1pPr>
          </a:lstStyle>
          <a:p>
            <a:r>
              <a:rPr lang="en-GB" noProof="0"/>
              <a:t>Insert text or your name</a:t>
            </a:r>
          </a:p>
        </p:txBody>
      </p:sp>
      <p:pic>
        <p:nvPicPr>
          <p:cNvPr id="8" name="Graphic 7">
            <a:extLst>
              <a:ext uri="{FF2B5EF4-FFF2-40B4-BE49-F238E27FC236}">
                <a16:creationId xmlns:a16="http://schemas.microsoft.com/office/drawing/2014/main" id="{AB101D0E-7B11-C344-98A4-5B835BBD55B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029686" y="5013221"/>
            <a:ext cx="2202311" cy="990030"/>
          </a:xfrm>
          <a:prstGeom prst="rect">
            <a:avLst/>
          </a:prstGeom>
        </p:spPr>
      </p:pic>
    </p:spTree>
    <p:extLst>
      <p:ext uri="{BB962C8B-B14F-4D97-AF65-F5344CB8AC3E}">
        <p14:creationId xmlns:p14="http://schemas.microsoft.com/office/powerpoint/2010/main" val="13363663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334B07-4F0A-416B-8569-A09BC83543C2}"/>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73F02D3C-6475-4D33-8B9F-022C377D4B15}"/>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ianummer 3">
            <a:extLst>
              <a:ext uri="{FF2B5EF4-FFF2-40B4-BE49-F238E27FC236}">
                <a16:creationId xmlns:a16="http://schemas.microsoft.com/office/drawing/2014/main" id="{009B1547-E5E2-4E06-A49B-4004F6BEFECF}"/>
              </a:ext>
            </a:extLst>
          </p:cNvPr>
          <p:cNvSpPr>
            <a:spLocks noGrp="1"/>
          </p:cNvSpPr>
          <p:nvPr>
            <p:ph type="sldNum" sz="quarter" idx="10"/>
          </p:nvPr>
        </p:nvSpPr>
        <p:spPr/>
        <p:txBody>
          <a:bodyPr/>
          <a:lstStyle/>
          <a:p>
            <a:pPr marL="25400">
              <a:lnSpc>
                <a:spcPts val="1110"/>
              </a:lnSpc>
            </a:pPr>
            <a:fld id="{81D60167-4931-47E6-BA6A-407CBD079E47}" type="slidenum">
              <a:rPr lang="en-GB" noProof="0" smtClean="0"/>
              <a:pPr marL="25400">
                <a:lnSpc>
                  <a:spcPts val="1110"/>
                </a:lnSpc>
              </a:pPr>
              <a:t>‹nr.›</a:t>
            </a:fld>
            <a:endParaRPr lang="en-GB" noProof="0"/>
          </a:p>
        </p:txBody>
      </p:sp>
    </p:spTree>
    <p:extLst>
      <p:ext uri="{BB962C8B-B14F-4D97-AF65-F5344CB8AC3E}">
        <p14:creationId xmlns:p14="http://schemas.microsoft.com/office/powerpoint/2010/main" val="26207770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image" Target="../media/image42.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oleObject" Target="../embeddings/oleObject1.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heme" Target="../theme/theme2.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ags" Target="../tags/tag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image" Target="../media/image44.svg"/><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tags" Target="../tags/tag1.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vmlDrawing" Target="../drawings/vmlDrawing1.vml"/><Relationship Id="rId35" Type="http://schemas.openxmlformats.org/officeDocument/2006/relationships/image" Target="../media/image4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68D102DB-76C5-4AFF-A293-8F592C525717}"/>
              </a:ext>
            </a:extLst>
          </p:cNvPr>
          <p:cNvSpPr/>
          <p:nvPr userDrawn="1"/>
        </p:nvSpPr>
        <p:spPr bwMode="auto">
          <a:xfrm>
            <a:off x="523200" y="651174"/>
            <a:ext cx="11145603" cy="5555655"/>
          </a:xfrm>
          <a:prstGeom prst="rect">
            <a:avLst/>
          </a:prstGeom>
          <a:noFill/>
          <a:ln w="3175">
            <a:solidFill>
              <a:schemeClr val="bg1">
                <a:lumMod val="95000"/>
              </a:schemeClr>
            </a:solidFill>
          </a:ln>
          <a:effectLst/>
        </p:spPr>
        <p:txBody>
          <a:bodyPr lIns="67733" tIns="67733" rIns="67733" bIns="67733"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grpSp>
        <p:nvGrpSpPr>
          <p:cNvPr id="3" name="Group 2" hidden="1">
            <a:extLst>
              <a:ext uri="{FF2B5EF4-FFF2-40B4-BE49-F238E27FC236}">
                <a16:creationId xmlns:a16="http://schemas.microsoft.com/office/drawing/2014/main" id="{8764080C-0ADC-48EE-9D30-88CD9BA499C3}"/>
              </a:ext>
            </a:extLst>
          </p:cNvPr>
          <p:cNvGrpSpPr/>
          <p:nvPr userDrawn="1"/>
        </p:nvGrpSpPr>
        <p:grpSpPr>
          <a:xfrm>
            <a:off x="650400" y="651174"/>
            <a:ext cx="10891200" cy="5555655"/>
            <a:chOff x="487800" y="488380"/>
            <a:chExt cx="8168400" cy="4166741"/>
          </a:xfrm>
        </p:grpSpPr>
        <p:cxnSp>
          <p:nvCxnSpPr>
            <p:cNvPr id="4" name="Straight Connector 3">
              <a:extLst>
                <a:ext uri="{FF2B5EF4-FFF2-40B4-BE49-F238E27FC236}">
                  <a16:creationId xmlns:a16="http://schemas.microsoft.com/office/drawing/2014/main" id="{32DADC2C-0253-46E7-8FFD-F28415F53859}"/>
                </a:ext>
              </a:extLst>
            </p:cNvPr>
            <p:cNvCxnSpPr>
              <a:cxnSpLocks/>
            </p:cNvCxnSpPr>
            <p:nvPr userDrawn="1"/>
          </p:nvCxnSpPr>
          <p:spPr>
            <a:xfrm rot="16200000">
              <a:off x="4572000" y="-3238858"/>
              <a:ext cx="0" cy="816840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BC665F3-3C29-4528-9109-D439DDA90E3B}"/>
                </a:ext>
              </a:extLst>
            </p:cNvPr>
            <p:cNvSpPr/>
            <p:nvPr userDrawn="1"/>
          </p:nvSpPr>
          <p:spPr bwMode="auto">
            <a:xfrm>
              <a:off x="488527" y="488380"/>
              <a:ext cx="8167673" cy="4166741"/>
            </a:xfrm>
            <a:prstGeom prst="rect">
              <a:avLst/>
            </a:prstGeom>
            <a:noFill/>
            <a:ln w="3175">
              <a:solidFill>
                <a:schemeClr val="bg2"/>
              </a:solidFill>
            </a:ln>
            <a:effectLst/>
          </p:spPr>
          <p:txBody>
            <a:bodyPr lIns="50800" tIns="50800" rIns="50800" bIns="50800" rtlCol="0" anchor="ctr"/>
            <a:lstStyle/>
            <a:p>
              <a:pPr marL="0" indent="0" algn="ctr">
                <a:lnSpc>
                  <a:spcPct val="100000"/>
                </a:lnSpc>
                <a:buSzTx/>
                <a:buFontTx/>
                <a:buNone/>
              </a:pPr>
              <a:endParaRPr lang="nl-BE" sz="2133" dirty="0">
                <a:solidFill>
                  <a:schemeClr val="bg1"/>
                </a:solidFill>
                <a:latin typeface="Crank 8 Plus Two" panose="02000506030000020004" pitchFamily="50" charset="0"/>
                <a:ea typeface="Roboto" charset="0"/>
                <a:cs typeface="Roboto" charset="0"/>
                <a:sym typeface="Helvetica Light" charset="0"/>
              </a:endParaRPr>
            </a:p>
          </p:txBody>
        </p:sp>
        <p:cxnSp>
          <p:nvCxnSpPr>
            <p:cNvPr id="6" name="Straight Connector 5">
              <a:extLst>
                <a:ext uri="{FF2B5EF4-FFF2-40B4-BE49-F238E27FC236}">
                  <a16:creationId xmlns:a16="http://schemas.microsoft.com/office/drawing/2014/main" id="{DC448689-C906-4329-878F-850238EF34DA}"/>
                </a:ext>
              </a:extLst>
            </p:cNvPr>
            <p:cNvCxnSpPr>
              <a:cxnSpLocks/>
            </p:cNvCxnSpPr>
            <p:nvPr userDrawn="1"/>
          </p:nvCxnSpPr>
          <p:spPr>
            <a:xfrm rot="16200000">
              <a:off x="4572000" y="214085"/>
              <a:ext cx="0" cy="816840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52561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9" r:id="rId67"/>
    <p:sldLayoutId id="2147483730" r:id="rId6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3BBD9E-04EF-4131-B8C1-92667525AB19}"/>
              </a:ext>
            </a:extLst>
          </p:cNvPr>
          <p:cNvGraphicFramePr>
            <a:graphicFrameLocks noChangeAspect="1"/>
          </p:cNvGraphicFramePr>
          <p:nvPr userDrawn="1">
            <p:custDataLst>
              <p:tags r:id="rId3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33" imgW="415" imgH="416" progId="TCLayout.ActiveDocument.1">
                  <p:embed/>
                </p:oleObj>
              </mc:Choice>
              <mc:Fallback>
                <p:oleObj name="think-cell Slide" r:id="rId33" imgW="415" imgH="416" progId="TCLayout.ActiveDocument.1">
                  <p:embed/>
                  <p:pic>
                    <p:nvPicPr>
                      <p:cNvPr id="5" name="Object 4" hidden="1">
                        <a:extLst>
                          <a:ext uri="{FF2B5EF4-FFF2-40B4-BE49-F238E27FC236}">
                            <a16:creationId xmlns:a16="http://schemas.microsoft.com/office/drawing/2014/main" id="{C73BBD9E-04EF-4131-B8C1-92667525AB19}"/>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hthoek 2" hidden="1">
            <a:extLst>
              <a:ext uri="{FF2B5EF4-FFF2-40B4-BE49-F238E27FC236}">
                <a16:creationId xmlns:a16="http://schemas.microsoft.com/office/drawing/2014/main" id="{6E314AF3-310C-440D-9831-FD21CE74D93B}"/>
              </a:ext>
            </a:extLst>
          </p:cNvPr>
          <p:cNvSpPr/>
          <p:nvPr userDrawn="1">
            <p:custDataLst>
              <p:tags r:id="rId32"/>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3500" b="0" i="0" baseline="0" dirty="0" err="1">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2" name="Holder 2"/>
          <p:cNvSpPr>
            <a:spLocks noGrp="1"/>
          </p:cNvSpPr>
          <p:nvPr>
            <p:ph type="title"/>
          </p:nvPr>
        </p:nvSpPr>
        <p:spPr>
          <a:xfrm>
            <a:off x="604800" y="592642"/>
            <a:ext cx="10980000" cy="538609"/>
          </a:xfrm>
          <a:prstGeom prst="rect">
            <a:avLst/>
          </a:prstGeom>
          <a:noFill/>
        </p:spPr>
        <p:txBody>
          <a:bodyPr wrap="square" lIns="0" tIns="0" rIns="0" bIns="0" anchor="b">
            <a:spAutoFit/>
          </a:bodyPr>
          <a:lstStyle>
            <a:lvl1pPr>
              <a:defRPr sz="3500" b="0" i="0">
                <a:solidFill>
                  <a:schemeClr val="bg1"/>
                </a:solidFill>
                <a:latin typeface="Times New Roman"/>
                <a:cs typeface="Times New Roman"/>
              </a:defRPr>
            </a:lvl1pPr>
          </a:lstStyle>
          <a:p>
            <a:r>
              <a:rPr lang="en-GB" noProof="0"/>
              <a:t>Click to add title</a:t>
            </a:r>
          </a:p>
        </p:txBody>
      </p:sp>
      <p:sp>
        <p:nvSpPr>
          <p:cNvPr id="6" name="Holder 6"/>
          <p:cNvSpPr>
            <a:spLocks noGrp="1"/>
          </p:cNvSpPr>
          <p:nvPr>
            <p:ph type="sldNum" sz="quarter" idx="7"/>
          </p:nvPr>
        </p:nvSpPr>
        <p:spPr>
          <a:xfrm>
            <a:off x="604800" y="6526322"/>
            <a:ext cx="492035" cy="141064"/>
          </a:xfrm>
          <a:prstGeom prst="rect">
            <a:avLst/>
          </a:prstGeom>
        </p:spPr>
        <p:txBody>
          <a:bodyPr wrap="square" lIns="0" tIns="0" rIns="0" bIns="0">
            <a:spAutoFit/>
          </a:bodyPr>
          <a:lstStyle>
            <a:lvl1pPr>
              <a:defRPr sz="1000" b="0" i="0">
                <a:solidFill>
                  <a:schemeClr val="accent2">
                    <a:lumMod val="75000"/>
                  </a:schemeClr>
                </a:solidFill>
                <a:latin typeface="Arial"/>
                <a:cs typeface="Arial"/>
              </a:defRPr>
            </a:lvl1pPr>
          </a:lstStyle>
          <a:p>
            <a:pPr marL="25400">
              <a:lnSpc>
                <a:spcPts val="1110"/>
              </a:lnSpc>
            </a:pPr>
            <a:fld id="{81D60167-4931-47E6-BA6A-407CBD079E47}" type="slidenum">
              <a:rPr lang="en-GB" noProof="0" smtClean="0"/>
              <a:pPr marL="25400">
                <a:lnSpc>
                  <a:spcPts val="1110"/>
                </a:lnSpc>
              </a:pPr>
              <a:t>‹nr.›</a:t>
            </a:fld>
            <a:endParaRPr lang="en-GB" noProof="0"/>
          </a:p>
        </p:txBody>
      </p:sp>
      <p:sp>
        <p:nvSpPr>
          <p:cNvPr id="4" name="Text Placeholder 3"/>
          <p:cNvSpPr>
            <a:spLocks noGrp="1"/>
          </p:cNvSpPr>
          <p:nvPr>
            <p:ph type="body" idx="1"/>
          </p:nvPr>
        </p:nvSpPr>
        <p:spPr>
          <a:xfrm>
            <a:off x="604800" y="1598400"/>
            <a:ext cx="10980000" cy="4320000"/>
          </a:xfrm>
          <a:prstGeom prst="rect">
            <a:avLst/>
          </a:prstGeom>
        </p:spPr>
        <p:txBody>
          <a:bodyPr vert="horz" lIns="0" tIns="0" rIns="0" bIns="0" rtlCol="0">
            <a:normAutofit/>
          </a:bodyPr>
          <a:lstStyle/>
          <a:p>
            <a:pPr lvl="0"/>
            <a:r>
              <a:rPr lang="en-GB" noProof="0"/>
              <a:t>Tekststijl van het model bewerken</a:t>
            </a:r>
          </a:p>
          <a:p>
            <a:pPr lvl="1"/>
            <a:r>
              <a:rPr lang="en-GB" noProof="0"/>
              <a:t>Tweede niveau</a:t>
            </a:r>
          </a:p>
          <a:p>
            <a:pPr lvl="2"/>
            <a:r>
              <a:rPr lang="en-GB" noProof="0"/>
              <a:t>Derde niveau</a:t>
            </a:r>
          </a:p>
          <a:p>
            <a:pPr lvl="3"/>
            <a:r>
              <a:rPr lang="en-GB" noProof="0"/>
              <a:t>Vierde niveau</a:t>
            </a:r>
          </a:p>
          <a:p>
            <a:pPr lvl="4"/>
            <a:r>
              <a:rPr lang="en-GB" noProof="0"/>
              <a:t>Vijfde niveau</a:t>
            </a:r>
          </a:p>
        </p:txBody>
      </p:sp>
      <p:pic>
        <p:nvPicPr>
          <p:cNvPr id="8" name="Picture 7">
            <a:extLst>
              <a:ext uri="{FF2B5EF4-FFF2-40B4-BE49-F238E27FC236}">
                <a16:creationId xmlns:a16="http://schemas.microsoft.com/office/drawing/2014/main" id="{E025E13A-2562-CA4B-A623-3BD59F5628F5}"/>
              </a:ext>
            </a:extLst>
          </p:cNvPr>
          <p:cNvPicPr>
            <a:picLocks noChangeAspect="1"/>
          </p:cNvPicPr>
          <p:nvPr userDrawn="1"/>
        </p:nvPicPr>
        <p:blipFill>
          <a:blip r:embed="rId35" cstate="print">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582908" y="6353666"/>
            <a:ext cx="1024136" cy="460392"/>
          </a:xfrm>
          <a:prstGeom prst="rect">
            <a:avLst/>
          </a:prstGeom>
        </p:spPr>
      </p:pic>
    </p:spTree>
    <p:extLst>
      <p:ext uri="{BB962C8B-B14F-4D97-AF65-F5344CB8AC3E}">
        <p14:creationId xmlns:p14="http://schemas.microsoft.com/office/powerpoint/2010/main" val="40474805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Lst>
  <p:hf hdr="0" ftr="0" dt="0"/>
  <p:txStyles>
    <p:titleStyle>
      <a:lvl1pPr eaLnBrk="1" hangingPunct="1">
        <a:defRPr sz="2400" b="0" i="0">
          <a:solidFill>
            <a:schemeClr val="tx1"/>
          </a:solidFill>
          <a:latin typeface="Metronic Slab Narrow Normaal" charset="0"/>
          <a:ea typeface="+mj-ea"/>
          <a:cs typeface="Metronic Slab Narrow Normaal" charset="0"/>
        </a:defRPr>
      </a:lvl1pPr>
    </p:titleStyle>
    <p:bodyStyle>
      <a:lvl1pPr marL="180000" indent="-180000" algn="l" eaLnBrk="1" hangingPunct="1">
        <a:spcBef>
          <a:spcPts val="400"/>
        </a:spcBef>
        <a:spcAft>
          <a:spcPts val="400"/>
        </a:spcAft>
        <a:buClr>
          <a:schemeClr val="accent5"/>
        </a:buClr>
        <a:buSzPct val="110000"/>
        <a:buFont typeface="Arial" panose="020B0604020202020204" pitchFamily="34" charset="0"/>
        <a:buChar char="-"/>
        <a:tabLst/>
        <a:defRPr sz="1800" b="0" i="0" baseline="0">
          <a:solidFill>
            <a:schemeClr val="accent2">
              <a:lumMod val="75000"/>
            </a:schemeClr>
          </a:solidFill>
          <a:latin typeface="+mn-lt"/>
          <a:ea typeface="+mn-ea"/>
          <a:cs typeface="+mn-cs"/>
        </a:defRPr>
      </a:lvl1pPr>
      <a:lvl2pPr marL="360000" indent="-180000" algn="l" eaLnBrk="1" hangingPunct="1">
        <a:spcBef>
          <a:spcPts val="400"/>
        </a:spcBef>
        <a:spcAft>
          <a:spcPts val="400"/>
        </a:spcAft>
        <a:buClr>
          <a:schemeClr val="accent5"/>
        </a:buClr>
        <a:buSzPct val="110000"/>
        <a:buFont typeface="Arial" panose="020B0604020202020204" pitchFamily="34" charset="0"/>
        <a:buChar char="-"/>
        <a:tabLst/>
        <a:defRPr sz="1600" b="0">
          <a:solidFill>
            <a:schemeClr val="accent2">
              <a:lumMod val="75000"/>
            </a:schemeClr>
          </a:solidFill>
          <a:latin typeface="+mn-lt"/>
          <a:ea typeface="+mn-ea"/>
          <a:cs typeface="+mn-cs"/>
        </a:defRPr>
      </a:lvl2pPr>
      <a:lvl3pPr marL="540000" indent="-180000" algn="l" eaLnBrk="1" hangingPunct="1">
        <a:lnSpc>
          <a:spcPct val="100000"/>
        </a:lnSpc>
        <a:spcBef>
          <a:spcPts val="400"/>
        </a:spcBef>
        <a:spcAft>
          <a:spcPts val="400"/>
        </a:spcAft>
        <a:buClr>
          <a:schemeClr val="accent5"/>
        </a:buClr>
        <a:buSzPct val="110000"/>
        <a:buFont typeface="Arial" panose="020B0604020202020204" pitchFamily="34" charset="0"/>
        <a:buChar char="-"/>
        <a:tabLst/>
        <a:defRPr sz="1600" baseline="0">
          <a:solidFill>
            <a:schemeClr val="accent2">
              <a:lumMod val="75000"/>
            </a:schemeClr>
          </a:solidFill>
          <a:latin typeface="+mn-lt"/>
          <a:ea typeface="+mn-ea"/>
          <a:cs typeface="+mn-cs"/>
        </a:defRPr>
      </a:lvl3pPr>
      <a:lvl4pPr marL="720000" marR="0" indent="-18000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Char char="-"/>
        <a:tabLst/>
        <a:defRPr sz="1600">
          <a:solidFill>
            <a:schemeClr val="accent2">
              <a:lumMod val="75000"/>
            </a:schemeClr>
          </a:solidFill>
          <a:latin typeface="+mn-lt"/>
          <a:ea typeface="+mn-ea"/>
          <a:cs typeface="+mn-cs"/>
        </a:defRPr>
      </a:lvl4pPr>
      <a:lvl5pPr marL="900000" indent="-180000" algn="l" eaLnBrk="1" hangingPunct="1">
        <a:lnSpc>
          <a:spcPct val="100000"/>
        </a:lnSpc>
        <a:spcBef>
          <a:spcPts val="400"/>
        </a:spcBef>
        <a:spcAft>
          <a:spcPts val="400"/>
        </a:spcAft>
        <a:buClr>
          <a:schemeClr val="accent5"/>
        </a:buClr>
        <a:buSzPct val="110000"/>
        <a:buFont typeface="Arial" panose="020B0604020202020204" pitchFamily="34" charset="0"/>
        <a:buChar char="-"/>
        <a:tabLst/>
        <a:defRPr sz="1600">
          <a:solidFill>
            <a:schemeClr val="accent2">
              <a:lumMod val="75000"/>
            </a:schemeClr>
          </a:solidFill>
          <a:latin typeface="+mn-lt"/>
          <a:ea typeface="+mn-ea"/>
          <a:cs typeface="+mn-cs"/>
        </a:defRPr>
      </a:lvl5pPr>
      <a:lvl6pPr marL="1080000" indent="-180000" algn="l" eaLnBrk="1" hangingPunct="1">
        <a:lnSpc>
          <a:spcPct val="100000"/>
        </a:lnSpc>
        <a:spcBef>
          <a:spcPts val="400"/>
        </a:spcBef>
        <a:spcAft>
          <a:spcPts val="400"/>
        </a:spcAft>
        <a:buClr>
          <a:schemeClr val="accent5"/>
        </a:buClr>
        <a:buSzPct val="110000"/>
        <a:buFont typeface="Arial" panose="020B0604020202020204" pitchFamily="34" charset="0"/>
        <a:buChar char="-"/>
        <a:defRPr sz="1600">
          <a:solidFill>
            <a:srgbClr val="75787B"/>
          </a:solidFill>
          <a:latin typeface="+mn-lt"/>
          <a:ea typeface="+mn-ea"/>
          <a:cs typeface="+mn-cs"/>
        </a:defRPr>
      </a:lvl6pPr>
      <a:lvl7pPr marL="1260000" marR="0" indent="-18000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Char char="-"/>
        <a:tabLst/>
        <a:defRPr sz="1600">
          <a:solidFill>
            <a:srgbClr val="75787B"/>
          </a:solidFill>
          <a:latin typeface="+mn-lt"/>
          <a:ea typeface="+mn-ea"/>
          <a:cs typeface="+mn-cs"/>
        </a:defRPr>
      </a:lvl7pPr>
      <a:lvl8pPr marL="1440000" marR="0" indent="-18000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Char char="-"/>
        <a:tabLst/>
        <a:defRPr sz="1600">
          <a:solidFill>
            <a:srgbClr val="75787B"/>
          </a:solidFill>
          <a:latin typeface="+mn-lt"/>
          <a:ea typeface="+mn-ea"/>
          <a:cs typeface="+mn-cs"/>
        </a:defRPr>
      </a:lvl8pPr>
      <a:lvl9pPr marL="1620000" marR="0" indent="-180000" algn="l" defTabSz="914400" eaLnBrk="1" fontAlgn="auto" latinLnBrk="0" hangingPunct="1">
        <a:lnSpc>
          <a:spcPct val="100000"/>
        </a:lnSpc>
        <a:spcBef>
          <a:spcPts val="400"/>
        </a:spcBef>
        <a:spcAft>
          <a:spcPts val="400"/>
        </a:spcAft>
        <a:buClr>
          <a:schemeClr val="accent5"/>
        </a:buClr>
        <a:buSzPct val="110000"/>
        <a:buFont typeface="Arial" panose="020B0604020202020204" pitchFamily="34" charset="0"/>
        <a:buChar char="-"/>
        <a:tabLst/>
        <a:defRPr sz="1600">
          <a:solidFill>
            <a:srgbClr val="75787B"/>
          </a:solidFill>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hyperlink" Target="https://www.vlaio.be/nl/begeleiding-advies/moeilijkhedencoronavirus/specifieke-maatregelen-mbt-het-coronavirus/welke" TargetMode="Externa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hyperlink" Target="https://www.vlaio.be/nl/media/1324" TargetMode="Externa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image" Target="../media/image67.png"/><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8" Type="http://schemas.openxmlformats.org/officeDocument/2006/relationships/hyperlink" Target="https://www.sdworxcorona.be/api/image?key=KVShTVgf5Rx00QTsUtW1BLR1KyMgeCH1P3xMXiPRuX2R5QCxeUDbhcVnik1ZSL2bs0lykEmi5ZaqDGq3h3gLNQRgVUVzNeIfX1JMNXf4QQN0Ii3lQRr5Q2UXrq7ScNYN" TargetMode="External"/><Relationship Id="rId3" Type="http://schemas.openxmlformats.org/officeDocument/2006/relationships/tags" Target="../tags/tag6.xml"/><Relationship Id="rId7" Type="http://schemas.openxmlformats.org/officeDocument/2006/relationships/image" Target="../media/image4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68.xml"/><Relationship Id="rId9" Type="http://schemas.openxmlformats.org/officeDocument/2006/relationships/image" Target="../media/image68.png"/></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2.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2.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2.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hyperlink" Target="https://www.sdworx.be/nl-be" TargetMode="External"/><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2.emf"/><Relationship Id="rId5" Type="http://schemas.openxmlformats.org/officeDocument/2006/relationships/oleObject" Target="../embeddings/oleObject7.bin"/><Relationship Id="rId4" Type="http://schemas.openxmlformats.org/officeDocument/2006/relationships/slideLayout" Target="../slideLayouts/slideLayout9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AB2C7-05FE-40EE-A9DC-B0AE96E6124F}"/>
              </a:ext>
            </a:extLst>
          </p:cNvPr>
          <p:cNvSpPr>
            <a:spLocks noGrp="1"/>
          </p:cNvSpPr>
          <p:nvPr>
            <p:ph type="title"/>
          </p:nvPr>
        </p:nvSpPr>
        <p:spPr>
          <a:xfrm>
            <a:off x="636439" y="3070371"/>
            <a:ext cx="7351845" cy="2200563"/>
          </a:xfrm>
        </p:spPr>
        <p:txBody>
          <a:bodyPr/>
          <a:lstStyle/>
          <a:p>
            <a:br>
              <a:rPr lang="nl-BE" dirty="0"/>
            </a:br>
            <a:br>
              <a:rPr lang="nl-BE" dirty="0"/>
            </a:br>
            <a:br>
              <a:rPr lang="nl-BE" dirty="0"/>
            </a:br>
            <a:br>
              <a:rPr lang="nl-BE" dirty="0"/>
            </a:br>
            <a:r>
              <a:rPr lang="nl-BE" sz="4000" dirty="0"/>
              <a:t>Coronamaatregelen </a:t>
            </a:r>
            <a:br>
              <a:rPr lang="nl-BE" sz="4000" dirty="0"/>
            </a:br>
            <a:r>
              <a:rPr lang="nl-BE" sz="5333" dirty="0"/>
              <a:t>Xerius</a:t>
            </a:r>
            <a:endParaRPr lang="nl-BE" dirty="0"/>
          </a:p>
        </p:txBody>
      </p:sp>
    </p:spTree>
    <p:extLst>
      <p:ext uri="{BB962C8B-B14F-4D97-AF65-F5344CB8AC3E}">
        <p14:creationId xmlns:p14="http://schemas.microsoft.com/office/powerpoint/2010/main" val="29894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174418"/>
            <a:ext cx="9703969" cy="5032403"/>
          </a:xfrm>
        </p:spPr>
        <p:txBody>
          <a:bodyPr/>
          <a:lstStyle/>
          <a:p>
            <a:pPr marL="61381" indent="0">
              <a:buNone/>
            </a:pPr>
            <a:endParaRPr lang="nl-BE" sz="1600" b="1" dirty="0"/>
          </a:p>
          <a:p>
            <a:pPr marL="61381" indent="0">
              <a:buNone/>
            </a:pPr>
            <a:r>
              <a:rPr lang="nl-BE" sz="1600" b="1" dirty="0"/>
              <a:t>Groep B (die op N-3 geen inkomen heeft tussen 6.996,89 euro en 13.993,77 euro, maar op jaar zelf wel)</a:t>
            </a:r>
            <a:endParaRPr lang="nl-BE" sz="1600" dirty="0"/>
          </a:p>
          <a:p>
            <a:pPr marL="61381" lvl="0" indent="0">
              <a:buNone/>
            </a:pPr>
            <a:r>
              <a:rPr lang="nl-BE" sz="1600" dirty="0"/>
              <a:t>Bijberoep – Artikel 37 – Student-zelfstandige – Gepensioneerden</a:t>
            </a:r>
          </a:p>
          <a:p>
            <a:pPr marL="61381" indent="0">
              <a:buNone/>
            </a:pPr>
            <a:r>
              <a:rPr lang="nl-BE" sz="1600" dirty="0"/>
              <a:t>GROEP B: </a:t>
            </a:r>
          </a:p>
          <a:p>
            <a:pPr marL="61381" indent="0">
              <a:buNone/>
            </a:pPr>
            <a:r>
              <a:rPr lang="nl-BE" sz="1600" dirty="0"/>
              <a:t>- OR nu aanvragen indien het inkomen 2020 voldoet, wordt pas uitbetaald zodra </a:t>
            </a:r>
          </a:p>
          <a:p>
            <a:pPr marL="61381" indent="0">
              <a:buNone/>
            </a:pPr>
            <a:r>
              <a:rPr lang="nl-BE" sz="1600" dirty="0"/>
              <a:t>    definitief inkomen gekend is   </a:t>
            </a:r>
          </a:p>
          <a:p>
            <a:r>
              <a:rPr lang="nl-BE" sz="1600" dirty="0"/>
              <a:t>Retro-actieve uitbetaling</a:t>
            </a:r>
          </a:p>
          <a:p>
            <a:r>
              <a:rPr lang="nl-BE" sz="1600" dirty="0"/>
              <a:t>Inclusief startende zelfstandigen voor 13/03/20</a:t>
            </a:r>
          </a:p>
          <a:p>
            <a:r>
              <a:rPr lang="nl-BE" sz="1600" dirty="0"/>
              <a:t>Art.37 &gt; 7.330,52 recht op volledige uitkering</a:t>
            </a:r>
          </a:p>
          <a:p>
            <a:endParaRPr lang="nl-BE" sz="1600" dirty="0"/>
          </a:p>
        </p:txBody>
      </p:sp>
      <p:sp>
        <p:nvSpPr>
          <p:cNvPr id="3" name="Titel 2"/>
          <p:cNvSpPr>
            <a:spLocks noGrp="1"/>
          </p:cNvSpPr>
          <p:nvPr>
            <p:ph type="title"/>
          </p:nvPr>
        </p:nvSpPr>
        <p:spPr/>
        <p:txBody>
          <a:bodyPr/>
          <a:lstStyle/>
          <a:p>
            <a:r>
              <a:rPr lang="nl-BE" dirty="0"/>
              <a:t>Half overbruggingsrecht</a:t>
            </a:r>
          </a:p>
        </p:txBody>
      </p:sp>
    </p:spTree>
    <p:extLst>
      <p:ext uri="{BB962C8B-B14F-4D97-AF65-F5344CB8AC3E}">
        <p14:creationId xmlns:p14="http://schemas.microsoft.com/office/powerpoint/2010/main" val="305382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174418"/>
            <a:ext cx="9703969" cy="5032403"/>
          </a:xfrm>
        </p:spPr>
        <p:txBody>
          <a:bodyPr/>
          <a:lstStyle/>
          <a:p>
            <a:pPr marL="61381" indent="0">
              <a:buNone/>
            </a:pPr>
            <a:r>
              <a:rPr lang="nl-BE" sz="1600" b="1" dirty="0"/>
              <a:t>Wat?</a:t>
            </a:r>
          </a:p>
          <a:p>
            <a:pPr marL="61381" indent="0">
              <a:buNone/>
            </a:pPr>
            <a:r>
              <a:rPr lang="nl-BE" sz="1600" b="1" dirty="0"/>
              <a:t>Maandelijkse belastbare uitkering:</a:t>
            </a:r>
          </a:p>
          <a:p>
            <a:pPr marL="61381" indent="0">
              <a:buNone/>
            </a:pPr>
            <a:r>
              <a:rPr lang="nl-BE" sz="1400" dirty="0"/>
              <a:t>	- 645,85 euro (zonder gezinslast) </a:t>
            </a:r>
          </a:p>
          <a:p>
            <a:pPr marL="61381" indent="0">
              <a:buNone/>
            </a:pPr>
            <a:r>
              <a:rPr lang="nl-BE" sz="1400" dirty="0"/>
              <a:t>	- 807,05 euro (*met gezinslast)</a:t>
            </a:r>
          </a:p>
          <a:p>
            <a:pPr marL="61381" indent="0">
              <a:buNone/>
            </a:pPr>
            <a:endParaRPr lang="nl-BE" sz="1400" dirty="0"/>
          </a:p>
          <a:p>
            <a:pPr marL="61381" indent="0">
              <a:buNone/>
            </a:pPr>
            <a:r>
              <a:rPr lang="nl-BE" sz="1400" dirty="0"/>
              <a:t>maart = aanvraag uiterlijk op 30/09/20</a:t>
            </a:r>
          </a:p>
          <a:p>
            <a:pPr marL="61381" indent="0">
              <a:buNone/>
            </a:pPr>
            <a:r>
              <a:rPr lang="nl-BE" sz="1400" dirty="0"/>
              <a:t>april = aanvraag uiterlijk op 31/12/20</a:t>
            </a:r>
          </a:p>
          <a:p>
            <a:pPr marL="61381" indent="0">
              <a:buNone/>
            </a:pPr>
            <a:endParaRPr lang="nl-BE" sz="1400" dirty="0"/>
          </a:p>
          <a:p>
            <a:pPr marL="61381" indent="0">
              <a:buNone/>
            </a:pPr>
            <a:r>
              <a:rPr lang="nl-BE" sz="1400" b="1" dirty="0"/>
              <a:t>Voorbeeld: </a:t>
            </a:r>
            <a:r>
              <a:rPr lang="nl-BE" sz="1400" dirty="0"/>
              <a:t>Hij of zij geniet een pensioen van 1.100 euro bruto, dan heb je bijkomend nog recht op een uitkering overbruggingsrecht van 514,10 euro (grens van 1614,10 euro mag niet overschreden worden)</a:t>
            </a:r>
          </a:p>
          <a:p>
            <a:pPr marL="61381" indent="0">
              <a:buNone/>
            </a:pPr>
            <a:r>
              <a:rPr lang="nl-BE" sz="1400" dirty="0"/>
              <a:t>*Gezinspensioen telt volledig mee</a:t>
            </a:r>
          </a:p>
          <a:p>
            <a:pPr marL="61381" indent="0">
              <a:buNone/>
            </a:pPr>
            <a:endParaRPr lang="nl-BE" sz="1600" b="1" dirty="0"/>
          </a:p>
          <a:p>
            <a:pPr marL="61381" indent="0">
              <a:buNone/>
            </a:pPr>
            <a:r>
              <a:rPr lang="nl-BE" sz="1600" b="1" dirty="0"/>
              <a:t>Hoe wordt gezinslast bepaald?</a:t>
            </a:r>
          </a:p>
          <a:p>
            <a:pPr marL="61381" indent="0">
              <a:buNone/>
            </a:pPr>
            <a:r>
              <a:rPr lang="nl-BE" sz="1600" dirty="0"/>
              <a:t>Dit gaat om personen die ten laste zijn bij het ziekenfonds voor zowel uitkeringen als voor geneeskundige verzorging </a:t>
            </a:r>
          </a:p>
        </p:txBody>
      </p:sp>
      <p:sp>
        <p:nvSpPr>
          <p:cNvPr id="3" name="Titel 2"/>
          <p:cNvSpPr>
            <a:spLocks noGrp="1"/>
          </p:cNvSpPr>
          <p:nvPr>
            <p:ph type="title"/>
          </p:nvPr>
        </p:nvSpPr>
        <p:spPr/>
        <p:txBody>
          <a:bodyPr/>
          <a:lstStyle/>
          <a:p>
            <a:r>
              <a:rPr lang="nl-BE" dirty="0"/>
              <a:t>Half overbruggingsrecht</a:t>
            </a:r>
          </a:p>
        </p:txBody>
      </p:sp>
    </p:spTree>
    <p:extLst>
      <p:ext uri="{BB962C8B-B14F-4D97-AF65-F5344CB8AC3E}">
        <p14:creationId xmlns:p14="http://schemas.microsoft.com/office/powerpoint/2010/main" val="4188836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174418"/>
            <a:ext cx="9703969" cy="5032403"/>
          </a:xfrm>
        </p:spPr>
        <p:txBody>
          <a:bodyPr/>
          <a:lstStyle/>
          <a:p>
            <a:pPr marL="61381" indent="0">
              <a:buNone/>
            </a:pPr>
            <a:r>
              <a:rPr lang="nl-BE" sz="1600" b="1" dirty="0"/>
              <a:t>Voorwaarden </a:t>
            </a:r>
          </a:p>
          <a:p>
            <a:pPr marL="61381" indent="0">
              <a:buNone/>
            </a:pPr>
            <a:r>
              <a:rPr lang="nl-BE" sz="1600" b="1" dirty="0"/>
              <a:t>Activiteit:</a:t>
            </a:r>
            <a:endParaRPr lang="nl-BE" sz="1600" dirty="0"/>
          </a:p>
          <a:p>
            <a:pPr marL="61381" lvl="0" indent="0">
              <a:buNone/>
            </a:pPr>
            <a:r>
              <a:rPr lang="nl-BE" sz="1600" u="sng" dirty="0"/>
              <a:t>Gedwongen sluiting </a:t>
            </a:r>
            <a:endParaRPr lang="nl-BE" sz="1600" dirty="0"/>
          </a:p>
          <a:p>
            <a:r>
              <a:rPr lang="nl-BE" sz="1600" dirty="0"/>
              <a:t>(activiteiten volgens MB van 13/03/2020) :</a:t>
            </a:r>
          </a:p>
          <a:p>
            <a:r>
              <a:rPr lang="nl-BE" sz="1600" dirty="0"/>
              <a:t>Bv. Horeca, ook al bied je nog afhaalmaaltijden aan. </a:t>
            </a:r>
          </a:p>
          <a:p>
            <a:r>
              <a:rPr lang="nl-BE" sz="1600" dirty="0"/>
              <a:t>+ Bouw PC 124</a:t>
            </a:r>
          </a:p>
          <a:p>
            <a:r>
              <a:rPr lang="nl-BE" sz="1600" dirty="0"/>
              <a:t>+ Krantenwinkels voor maart</a:t>
            </a:r>
          </a:p>
          <a:p>
            <a:pPr marL="61381" lvl="0" indent="0">
              <a:buNone/>
            </a:pPr>
            <a:endParaRPr lang="nl-BE" sz="1600" u="sng" dirty="0"/>
          </a:p>
          <a:p>
            <a:pPr marL="61381" lvl="0" indent="0">
              <a:buNone/>
            </a:pPr>
            <a:r>
              <a:rPr lang="nl-BE" sz="1600" u="sng" dirty="0"/>
              <a:t>Geen gedwongen sluiting</a:t>
            </a:r>
            <a:endParaRPr lang="nl-BE" sz="1600" dirty="0"/>
          </a:p>
          <a:p>
            <a:r>
              <a:rPr lang="nl-BE" sz="1600" dirty="0"/>
              <a:t>Zelf beslist om zaak 7 opeenvolgende kalenderdagen in dezelfde maand te sluiten.</a:t>
            </a:r>
          </a:p>
          <a:p>
            <a:pPr marL="61381" indent="0">
              <a:buNone/>
            </a:pPr>
            <a:r>
              <a:rPr lang="nl-BE" sz="1600" dirty="0"/>
              <a:t>Bijvoorbeeld uit voorzorg, of omdat je weinig klanten hebt.</a:t>
            </a:r>
          </a:p>
          <a:p>
            <a:pPr marL="61381" indent="0">
              <a:buNone/>
            </a:pPr>
            <a:r>
              <a:rPr lang="nl-BE" sz="1600" dirty="0"/>
              <a:t> </a:t>
            </a:r>
          </a:p>
          <a:p>
            <a:endParaRPr lang="nl-BE" sz="1600" dirty="0"/>
          </a:p>
          <a:p>
            <a:pPr marL="61381" indent="0">
              <a:buNone/>
            </a:pPr>
            <a:endParaRPr lang="nl-BE" sz="1600" dirty="0"/>
          </a:p>
        </p:txBody>
      </p:sp>
      <p:sp>
        <p:nvSpPr>
          <p:cNvPr id="3" name="Titel 2"/>
          <p:cNvSpPr>
            <a:spLocks noGrp="1"/>
          </p:cNvSpPr>
          <p:nvPr>
            <p:ph type="title"/>
          </p:nvPr>
        </p:nvSpPr>
        <p:spPr/>
        <p:txBody>
          <a:bodyPr/>
          <a:lstStyle/>
          <a:p>
            <a:r>
              <a:rPr lang="nl-BE" dirty="0"/>
              <a:t>Half overbruggingsrecht</a:t>
            </a:r>
          </a:p>
        </p:txBody>
      </p:sp>
    </p:spTree>
    <p:extLst>
      <p:ext uri="{BB962C8B-B14F-4D97-AF65-F5344CB8AC3E}">
        <p14:creationId xmlns:p14="http://schemas.microsoft.com/office/powerpoint/2010/main" val="91908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174418"/>
            <a:ext cx="9703969" cy="5032403"/>
          </a:xfrm>
        </p:spPr>
        <p:txBody>
          <a:bodyPr/>
          <a:lstStyle/>
          <a:p>
            <a:pPr marL="61381" indent="0">
              <a:buNone/>
            </a:pPr>
            <a:r>
              <a:rPr lang="nl-BE" sz="1600" dirty="0"/>
              <a:t> </a:t>
            </a:r>
          </a:p>
          <a:p>
            <a:pPr marL="61381" indent="0">
              <a:buNone/>
            </a:pPr>
            <a:r>
              <a:rPr lang="nl-BE" sz="1600" b="1" dirty="0"/>
              <a:t>Domicilie</a:t>
            </a:r>
            <a:endParaRPr lang="nl-BE" sz="1600" dirty="0"/>
          </a:p>
          <a:p>
            <a:pPr marL="61381" indent="0">
              <a:buNone/>
            </a:pPr>
            <a:r>
              <a:rPr lang="nl-BE" sz="1600" dirty="0"/>
              <a:t>Geen vereiste dat domicilie in België is. </a:t>
            </a:r>
          </a:p>
          <a:p>
            <a:pPr marL="61381" indent="0">
              <a:buNone/>
            </a:pPr>
            <a:endParaRPr lang="nl-BE" sz="1600" dirty="0"/>
          </a:p>
          <a:p>
            <a:pPr marL="61381" indent="0">
              <a:buNone/>
            </a:pPr>
            <a:r>
              <a:rPr lang="nl-BE" sz="1600" dirty="0"/>
              <a:t> </a:t>
            </a:r>
            <a:r>
              <a:rPr lang="nl-BE" sz="1600" b="1" dirty="0"/>
              <a:t>Bezoldiging:</a:t>
            </a:r>
            <a:endParaRPr lang="nl-BE" sz="1600" dirty="0"/>
          </a:p>
          <a:p>
            <a:pPr marL="61381" indent="0">
              <a:buNone/>
            </a:pPr>
            <a:r>
              <a:rPr lang="nl-BE" sz="1600" dirty="0"/>
              <a:t>Bezoldiging en VAA van bedrijfsleider mag blijven doorlopen</a:t>
            </a:r>
          </a:p>
          <a:p>
            <a:pPr marL="61381" lvl="0" indent="0">
              <a:buNone/>
            </a:pPr>
            <a:endParaRPr lang="nl-BE" sz="1600" b="1" dirty="0"/>
          </a:p>
          <a:p>
            <a:pPr marL="61381" lvl="0" indent="0">
              <a:buNone/>
            </a:pPr>
            <a:r>
              <a:rPr lang="nl-BE" sz="1600" b="1" dirty="0"/>
              <a:t>Sociale bijdragen:</a:t>
            </a:r>
          </a:p>
          <a:p>
            <a:pPr marL="61381" lvl="0" indent="0">
              <a:buNone/>
            </a:pPr>
            <a:r>
              <a:rPr lang="nl-BE" sz="1600" dirty="0"/>
              <a:t>Geen</a:t>
            </a:r>
          </a:p>
          <a:p>
            <a:endParaRPr lang="nl-BE" sz="1600" dirty="0"/>
          </a:p>
          <a:p>
            <a:pPr marL="61381" indent="0">
              <a:buNone/>
            </a:pPr>
            <a:endParaRPr lang="nl-BE" sz="1600" dirty="0"/>
          </a:p>
        </p:txBody>
      </p:sp>
      <p:sp>
        <p:nvSpPr>
          <p:cNvPr id="3" name="Titel 2"/>
          <p:cNvSpPr>
            <a:spLocks noGrp="1"/>
          </p:cNvSpPr>
          <p:nvPr>
            <p:ph type="title"/>
          </p:nvPr>
        </p:nvSpPr>
        <p:spPr/>
        <p:txBody>
          <a:bodyPr/>
          <a:lstStyle/>
          <a:p>
            <a:r>
              <a:rPr lang="nl-BE" dirty="0"/>
              <a:t>Half overbruggingsrecht</a:t>
            </a:r>
          </a:p>
        </p:txBody>
      </p:sp>
    </p:spTree>
    <p:extLst>
      <p:ext uri="{BB962C8B-B14F-4D97-AF65-F5344CB8AC3E}">
        <p14:creationId xmlns:p14="http://schemas.microsoft.com/office/powerpoint/2010/main" val="89002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FAB2C7-05FE-40EE-A9DC-B0AE96E6124F}"/>
              </a:ext>
            </a:extLst>
          </p:cNvPr>
          <p:cNvSpPr>
            <a:spLocks noGrp="1"/>
          </p:cNvSpPr>
          <p:nvPr>
            <p:ph type="title"/>
          </p:nvPr>
        </p:nvSpPr>
        <p:spPr>
          <a:xfrm>
            <a:off x="636439" y="3070371"/>
            <a:ext cx="7351845" cy="2200563"/>
          </a:xfrm>
        </p:spPr>
        <p:txBody>
          <a:bodyPr/>
          <a:lstStyle/>
          <a:p>
            <a:br>
              <a:rPr lang="nl-BE" dirty="0"/>
            </a:br>
            <a:br>
              <a:rPr lang="nl-BE" dirty="0"/>
            </a:br>
            <a:br>
              <a:rPr lang="nl-BE" dirty="0"/>
            </a:br>
            <a:br>
              <a:rPr lang="nl-BE" dirty="0"/>
            </a:br>
            <a:br>
              <a:rPr lang="nl-BE" dirty="0"/>
            </a:br>
            <a:br>
              <a:rPr lang="nl-BE" sz="5333" dirty="0"/>
            </a:br>
            <a:r>
              <a:rPr lang="nl-BE" sz="5333" dirty="0"/>
              <a:t>Coronamaatregelen Vlaio</a:t>
            </a:r>
            <a:endParaRPr lang="nl-BE" dirty="0"/>
          </a:p>
        </p:txBody>
      </p:sp>
    </p:spTree>
    <p:extLst>
      <p:ext uri="{BB962C8B-B14F-4D97-AF65-F5344CB8AC3E}">
        <p14:creationId xmlns:p14="http://schemas.microsoft.com/office/powerpoint/2010/main" val="289189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357460"/>
            <a:ext cx="8696329" cy="5109328"/>
          </a:xfrm>
        </p:spPr>
        <p:txBody>
          <a:bodyPr/>
          <a:lstStyle/>
          <a:p>
            <a:r>
              <a:rPr lang="nl-BE" b="1" dirty="0"/>
              <a:t>Wat?</a:t>
            </a:r>
          </a:p>
          <a:p>
            <a:pPr>
              <a:buFontTx/>
              <a:buChar char="-"/>
            </a:pPr>
            <a:r>
              <a:rPr lang="nl-BE" dirty="0"/>
              <a:t>Premie van 4.000,00 euro bij verplichte sluiting/per fysieke vestiging Max. 5   </a:t>
            </a:r>
          </a:p>
          <a:p>
            <a:pPr marL="61381" indent="0">
              <a:buNone/>
            </a:pPr>
            <a:r>
              <a:rPr lang="nl-BE" dirty="0"/>
              <a:t>   per onderneming (per vestiging 1 VTE)</a:t>
            </a:r>
          </a:p>
          <a:p>
            <a:pPr marL="61381" indent="0">
              <a:buNone/>
            </a:pPr>
            <a:r>
              <a:rPr lang="nl-BE" dirty="0"/>
              <a:t>- Nà 21 dagen 160 euro per dag (sluitingsdag volgens de openingsuren)</a:t>
            </a:r>
          </a:p>
          <a:p>
            <a:pPr marL="61381" indent="0">
              <a:buNone/>
            </a:pPr>
            <a:r>
              <a:rPr lang="nl-BE" dirty="0"/>
              <a:t>- Premie is vrijgesteld van belastingen</a:t>
            </a:r>
          </a:p>
          <a:p>
            <a:pPr marL="61381" indent="0">
              <a:buNone/>
            </a:pPr>
            <a:r>
              <a:rPr lang="nl-BE" u="sng" dirty="0">
                <a:hlinkClick r:id="rId2"/>
              </a:rPr>
              <a:t>*Enkel voor gedwongen sluitingen</a:t>
            </a:r>
            <a:endParaRPr lang="nl-BE" u="sng" dirty="0"/>
          </a:p>
          <a:p>
            <a:pPr marL="61381" indent="0">
              <a:buNone/>
            </a:pPr>
            <a:r>
              <a:rPr lang="nl-BE" u="sng" dirty="0"/>
              <a:t>Deadline:</a:t>
            </a:r>
          </a:p>
          <a:p>
            <a:pPr marL="61381" indent="0">
              <a:buNone/>
            </a:pPr>
            <a:r>
              <a:rPr lang="nl-BE" dirty="0"/>
              <a:t>Aanvraag omwille van corona vóór 20/05/20 (! Normaal gezien binnen de 30 dagen na verplichte sluiting)</a:t>
            </a:r>
          </a:p>
          <a:p>
            <a:pPr marL="61381" indent="0">
              <a:buNone/>
            </a:pPr>
            <a:endParaRPr lang="nl-BE" sz="1200" dirty="0"/>
          </a:p>
          <a:p>
            <a:pPr marL="61381" indent="0">
              <a:buNone/>
            </a:pPr>
            <a:r>
              <a:rPr lang="nl-BE" sz="1200" dirty="0"/>
              <a:t>Opgelet:</a:t>
            </a:r>
          </a:p>
          <a:p>
            <a:r>
              <a:rPr lang="nl-BE" dirty="0"/>
              <a:t>Starters na 12/03/2020 komen niet in aanmerking</a:t>
            </a:r>
          </a:p>
          <a:p>
            <a:r>
              <a:rPr lang="nl-BE" dirty="0"/>
              <a:t>Cumulatie kan met overbruggingsrecht </a:t>
            </a:r>
          </a:p>
          <a:p>
            <a:r>
              <a:rPr lang="nl-BE" dirty="0"/>
              <a:t>Cumulatie kan niet met compensatiepremie voor zelfde onderneming</a:t>
            </a:r>
          </a:p>
        </p:txBody>
      </p:sp>
      <p:sp>
        <p:nvSpPr>
          <p:cNvPr id="3" name="Titel 2"/>
          <p:cNvSpPr>
            <a:spLocks noGrp="1"/>
          </p:cNvSpPr>
          <p:nvPr>
            <p:ph type="title"/>
          </p:nvPr>
        </p:nvSpPr>
        <p:spPr/>
        <p:txBody>
          <a:bodyPr/>
          <a:lstStyle/>
          <a:p>
            <a:r>
              <a:rPr lang="nl-BE" dirty="0"/>
              <a:t>Hinderpremie</a:t>
            </a:r>
          </a:p>
        </p:txBody>
      </p:sp>
    </p:spTree>
    <p:extLst>
      <p:ext uri="{BB962C8B-B14F-4D97-AF65-F5344CB8AC3E}">
        <p14:creationId xmlns:p14="http://schemas.microsoft.com/office/powerpoint/2010/main" val="251052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357460"/>
            <a:ext cx="8696329" cy="5109328"/>
          </a:xfrm>
        </p:spPr>
        <p:txBody>
          <a:bodyPr/>
          <a:lstStyle/>
          <a:p>
            <a:r>
              <a:rPr lang="nl-BE" sz="2000" b="1" dirty="0"/>
              <a:t>Wie?</a:t>
            </a:r>
          </a:p>
          <a:p>
            <a:r>
              <a:rPr lang="nl-BE" b="1" dirty="0"/>
              <a:t>Eenmanszaak</a:t>
            </a:r>
            <a:endParaRPr lang="nl-BE" dirty="0"/>
          </a:p>
          <a:p>
            <a:pPr lvl="1"/>
            <a:r>
              <a:rPr lang="nl-BE" dirty="0"/>
              <a:t>Hoofdberoep - Bijberoep en bijdragen volgens hoofdberoep</a:t>
            </a:r>
          </a:p>
          <a:p>
            <a:pPr lvl="1"/>
            <a:r>
              <a:rPr lang="nl-BE" dirty="0"/>
              <a:t>Actieve onderneming</a:t>
            </a:r>
          </a:p>
          <a:p>
            <a:pPr lvl="1"/>
            <a:r>
              <a:rPr lang="nl-BE" dirty="0"/>
              <a:t>Actieve exploitatie of uitbatingszetel in Vlaamse gewest</a:t>
            </a:r>
          </a:p>
          <a:p>
            <a:r>
              <a:rPr lang="nl-BE" b="1" dirty="0"/>
              <a:t>Vennootschap</a:t>
            </a:r>
            <a:endParaRPr lang="nl-BE" dirty="0"/>
          </a:p>
          <a:p>
            <a:pPr lvl="1"/>
            <a:r>
              <a:rPr lang="nl-BE" dirty="0"/>
              <a:t>1 werkende vennoot / 1 voltijds equivalent in loondienst</a:t>
            </a:r>
          </a:p>
          <a:p>
            <a:pPr lvl="1"/>
            <a:r>
              <a:rPr lang="nl-BE" dirty="0"/>
              <a:t>Actieve onderneming</a:t>
            </a:r>
          </a:p>
          <a:p>
            <a:pPr lvl="1"/>
            <a:r>
              <a:rPr lang="nl-BE" dirty="0"/>
              <a:t>Actieve exploitatie of uitbatingszetel in Vlaamse gewest</a:t>
            </a:r>
          </a:p>
          <a:p>
            <a:r>
              <a:rPr lang="nl-BE" b="1" dirty="0"/>
              <a:t>Vereniging met economische activiteit (VZW, ...)</a:t>
            </a:r>
            <a:endParaRPr lang="nl-BE" dirty="0"/>
          </a:p>
          <a:p>
            <a:pPr lvl="1"/>
            <a:r>
              <a:rPr lang="nl-BE" dirty="0"/>
              <a:t>Voltijds equivalent in loondienst</a:t>
            </a:r>
          </a:p>
          <a:p>
            <a:pPr lvl="1"/>
            <a:r>
              <a:rPr lang="nl-BE" dirty="0"/>
              <a:t>Actieve onderneming</a:t>
            </a:r>
          </a:p>
          <a:p>
            <a:pPr lvl="1"/>
            <a:r>
              <a:rPr lang="nl-BE" dirty="0"/>
              <a:t>Actieve exploitatie of uitbatingszetel in Vlaamse gewest</a:t>
            </a:r>
          </a:p>
          <a:p>
            <a:endParaRPr lang="nl-BE" dirty="0"/>
          </a:p>
        </p:txBody>
      </p:sp>
      <p:sp>
        <p:nvSpPr>
          <p:cNvPr id="3" name="Titel 2"/>
          <p:cNvSpPr>
            <a:spLocks noGrp="1"/>
          </p:cNvSpPr>
          <p:nvPr>
            <p:ph type="title"/>
          </p:nvPr>
        </p:nvSpPr>
        <p:spPr/>
        <p:txBody>
          <a:bodyPr/>
          <a:lstStyle/>
          <a:p>
            <a:r>
              <a:rPr lang="nl-BE" dirty="0"/>
              <a:t>Hinderpremie</a:t>
            </a:r>
          </a:p>
        </p:txBody>
      </p:sp>
    </p:spTree>
    <p:extLst>
      <p:ext uri="{BB962C8B-B14F-4D97-AF65-F5344CB8AC3E}">
        <p14:creationId xmlns:p14="http://schemas.microsoft.com/office/powerpoint/2010/main" val="162833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r>
              <a:rPr lang="nl-BE" sz="1600" b="1" dirty="0"/>
              <a:t>Wat?</a:t>
            </a:r>
          </a:p>
          <a:p>
            <a:r>
              <a:rPr lang="nl-BE" sz="1600" dirty="0"/>
              <a:t>Eénmalige premie van 3.000,00 euro of 1.500,00 euro bij omzetdaling van -60% en   exploitatiebeperkingen</a:t>
            </a:r>
          </a:p>
          <a:p>
            <a:r>
              <a:rPr lang="nl-BE" sz="1600" dirty="0"/>
              <a:t>Max. 5 per onderneming (per vestiging 1 VTE)</a:t>
            </a:r>
          </a:p>
          <a:p>
            <a:r>
              <a:rPr lang="nl-BE" sz="1600" dirty="0"/>
              <a:t>Premie is vrijgesteld van belastingen</a:t>
            </a:r>
          </a:p>
          <a:p>
            <a:r>
              <a:rPr lang="nl-BE" sz="1600" dirty="0"/>
              <a:t>Voor de compensatiepremie is het beroepsinkomen 2019 van belang! </a:t>
            </a:r>
          </a:p>
          <a:p>
            <a:pPr>
              <a:buFontTx/>
              <a:buChar char="-"/>
            </a:pPr>
            <a:endParaRPr lang="nl-BE" sz="1600" dirty="0"/>
          </a:p>
          <a:p>
            <a:pPr marL="61381" indent="0">
              <a:buNone/>
            </a:pPr>
            <a:r>
              <a:rPr lang="nl-BE" sz="1600" u="sng" dirty="0"/>
              <a:t>Deadline:</a:t>
            </a:r>
          </a:p>
          <a:p>
            <a:pPr marL="61381" indent="0">
              <a:buNone/>
            </a:pPr>
            <a:r>
              <a:rPr lang="nl-BE" sz="1600" dirty="0"/>
              <a:t>Aanvraag vóór 30/06/2020 (online applicatie beschikbaar eerste week van mei)</a:t>
            </a:r>
          </a:p>
          <a:p>
            <a:pPr lvl="1"/>
            <a:endParaRPr lang="nl-BE" sz="1600" kern="0"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211312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r>
              <a:rPr lang="nl-BE" sz="1600" b="1" dirty="0"/>
              <a:t>Wie?</a:t>
            </a:r>
          </a:p>
          <a:p>
            <a:pPr lvl="0"/>
            <a:r>
              <a:rPr lang="nl-BE" sz="1600" dirty="0"/>
              <a:t>Categorie 1:</a:t>
            </a:r>
          </a:p>
          <a:p>
            <a:pPr lvl="1"/>
            <a:r>
              <a:rPr lang="nl-BE" sz="1600" dirty="0"/>
              <a:t>De eventsector en gelinkte ondernemingen</a:t>
            </a:r>
          </a:p>
          <a:p>
            <a:pPr lvl="0"/>
            <a:r>
              <a:rPr lang="nl-BE" sz="1600" dirty="0"/>
              <a:t>Categorie 2:</a:t>
            </a:r>
          </a:p>
          <a:p>
            <a:pPr lvl="1"/>
            <a:r>
              <a:rPr lang="nl-BE" sz="1600" dirty="0"/>
              <a:t>De (para)medische beroepen en technische controle die enkel nog dringende interventies mogen doen</a:t>
            </a:r>
          </a:p>
          <a:p>
            <a:pPr lvl="0"/>
            <a:r>
              <a:rPr lang="nl-BE" sz="1600" dirty="0"/>
              <a:t>Categorie 3:</a:t>
            </a:r>
          </a:p>
          <a:p>
            <a:pPr lvl="1"/>
            <a:r>
              <a:rPr lang="nl-BE" sz="1600" dirty="0"/>
              <a:t>Dienstenleveranciers die enkel nog dringende interventies mogen doen</a:t>
            </a:r>
          </a:p>
          <a:p>
            <a:pPr lvl="0"/>
            <a:r>
              <a:rPr lang="nl-BE" sz="1600" dirty="0"/>
              <a:t>Categorie 4:</a:t>
            </a:r>
          </a:p>
          <a:p>
            <a:pPr lvl="1"/>
            <a:r>
              <a:rPr lang="nl-BE" sz="1600" dirty="0"/>
              <a:t>de ondernemingen die essentiële diensten leveren.</a:t>
            </a:r>
          </a:p>
          <a:p>
            <a:pPr lvl="0"/>
            <a:r>
              <a:rPr lang="nl-BE" sz="1600" dirty="0"/>
              <a:t>Categorie 5 </a:t>
            </a:r>
          </a:p>
          <a:p>
            <a:pPr lvl="1"/>
            <a:r>
              <a:rPr lang="nl-BE" sz="1600" dirty="0"/>
              <a:t>Geen bovenstaande categorie dan kom je enkel in aanmerking als je een </a:t>
            </a:r>
            <a:r>
              <a:rPr lang="nl-BE" sz="1600" b="1" dirty="0"/>
              <a:t>substantiële exploitatiebeperking </a:t>
            </a:r>
            <a:r>
              <a:rPr lang="nl-BE" sz="1600" dirty="0"/>
              <a:t>ondergaat</a:t>
            </a:r>
          </a:p>
          <a:p>
            <a:pPr lvl="1"/>
            <a:endParaRPr lang="nl-BE" sz="1600" dirty="0"/>
          </a:p>
          <a:p>
            <a:pPr marL="61381" indent="0">
              <a:buNone/>
            </a:pPr>
            <a:r>
              <a:rPr lang="nl-BE" sz="1600" dirty="0"/>
              <a:t>Voor de correctheid zie NACE lijst:</a:t>
            </a:r>
            <a:r>
              <a:rPr lang="nl-BE" sz="1600" dirty="0">
                <a:hlinkClick r:id="rId2"/>
              </a:rPr>
              <a:t>https://www.vlaio.be/nl/media/1324</a:t>
            </a:r>
            <a:r>
              <a:rPr lang="nl-BE" sz="1600" dirty="0"/>
              <a:t> </a:t>
            </a:r>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288278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pPr marL="61381" indent="0">
              <a:buNone/>
            </a:pPr>
            <a:r>
              <a:rPr lang="nl-BE" sz="1600" dirty="0"/>
              <a:t>UITGESLOTEN de ‘zuivere’:</a:t>
            </a:r>
          </a:p>
          <a:p>
            <a:pPr lvl="0"/>
            <a:r>
              <a:rPr lang="nl-BE" sz="1600" dirty="0"/>
              <a:t>Holdingvennootschappen</a:t>
            </a:r>
          </a:p>
          <a:p>
            <a:pPr lvl="0"/>
            <a:r>
              <a:rPr lang="nl-BE" sz="1600" dirty="0"/>
              <a:t>Patrimoniumvennootschappen</a:t>
            </a:r>
          </a:p>
          <a:p>
            <a:pPr lvl="0"/>
            <a:r>
              <a:rPr lang="nl-BE" sz="1600" dirty="0"/>
              <a:t>Activiteiten van hoofdkantoren</a:t>
            </a:r>
          </a:p>
          <a:p>
            <a:pPr lvl="0"/>
            <a:r>
              <a:rPr lang="nl-BE" sz="1600" dirty="0"/>
              <a:t>Managementvennootschappen waarvan de zaakvoerders van de onderneming zakelijke diensten verleent aan een onderneming die reeds de compensatiepremie ontving en waarin dezelfde persoon bestuurder, vennoot of zaakvoerder is. </a:t>
            </a:r>
          </a:p>
          <a:p>
            <a:pPr marL="61381" indent="0">
              <a:buNone/>
            </a:pPr>
            <a:endParaRPr lang="nl-BE" sz="1600"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181931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BE" sz="3600" dirty="0"/>
              <a:t>Maatregelen</a:t>
            </a:r>
            <a:br>
              <a:rPr lang="nl-BE" sz="3600" dirty="0"/>
            </a:br>
            <a:endParaRPr lang="nl-BE" sz="3200" dirty="0">
              <a:solidFill>
                <a:schemeClr val="accent1"/>
              </a:solidFill>
            </a:endParaRPr>
          </a:p>
        </p:txBody>
      </p:sp>
      <p:sp>
        <p:nvSpPr>
          <p:cNvPr id="4" name="Tijdelijke aanduiding voor tekst 3"/>
          <p:cNvSpPr>
            <a:spLocks noGrp="1"/>
          </p:cNvSpPr>
          <p:nvPr>
            <p:ph type="body" sz="quarter" idx="12"/>
          </p:nvPr>
        </p:nvSpPr>
        <p:spPr>
          <a:xfrm>
            <a:off x="1962222" y="1500888"/>
            <a:ext cx="7855077" cy="4786684"/>
          </a:xfrm>
        </p:spPr>
        <p:txBody>
          <a:bodyPr/>
          <a:lstStyle/>
          <a:p>
            <a:pPr marL="0" indent="0">
              <a:buNone/>
            </a:pPr>
            <a:r>
              <a:rPr lang="nl-BE" sz="2000" dirty="0">
                <a:latin typeface="Crank 8 Regular" panose="02000506030000020004" pitchFamily="2" charset="0"/>
              </a:rPr>
              <a:t>Uitstel van betaling</a:t>
            </a:r>
          </a:p>
          <a:p>
            <a:pPr marL="0" indent="0">
              <a:buNone/>
            </a:pPr>
            <a:endParaRPr lang="nl-BE" sz="2000" dirty="0">
              <a:latin typeface="Crank 8 Regular" panose="02000506030000020004" pitchFamily="2" charset="0"/>
            </a:endParaRPr>
          </a:p>
          <a:p>
            <a:pPr marL="0" indent="0">
              <a:buNone/>
            </a:pPr>
            <a:r>
              <a:rPr lang="nl-BE" sz="2000" dirty="0">
                <a:latin typeface="Crank 8 Regular" panose="02000506030000020004" pitchFamily="2" charset="0"/>
              </a:rPr>
              <a:t>Vrijstelling sociale bijdragen tijdelijke financiële moeilijkheden</a:t>
            </a:r>
          </a:p>
          <a:p>
            <a:pPr marL="0" indent="0">
              <a:buNone/>
            </a:pPr>
            <a:endParaRPr lang="nl-BE" sz="2000" dirty="0">
              <a:latin typeface="Crank 8 Regular" panose="02000506030000020004" pitchFamily="2" charset="0"/>
            </a:endParaRPr>
          </a:p>
          <a:p>
            <a:pPr marL="0" indent="0">
              <a:buNone/>
            </a:pPr>
            <a:r>
              <a:rPr lang="nl-BE" sz="2000" dirty="0">
                <a:latin typeface="Crank 8 Regular" panose="02000506030000020004" pitchFamily="2" charset="0"/>
              </a:rPr>
              <a:t>Overbruggingsrecht</a:t>
            </a:r>
          </a:p>
          <a:p>
            <a:pPr marL="0" indent="0">
              <a:buNone/>
            </a:pPr>
            <a:endParaRPr lang="nl-BE" sz="2000" dirty="0">
              <a:latin typeface="Crank 8 Regular" panose="02000506030000020004" pitchFamily="2" charset="0"/>
            </a:endParaRPr>
          </a:p>
          <a:p>
            <a:pPr marL="0" indent="0">
              <a:buNone/>
            </a:pPr>
            <a:r>
              <a:rPr lang="nl-BE" sz="2000" dirty="0">
                <a:latin typeface="Crank 8 Regular" panose="02000506030000020004" pitchFamily="2" charset="0"/>
              </a:rPr>
              <a:t>Half overbruggingsrecht</a:t>
            </a:r>
          </a:p>
          <a:p>
            <a:pPr marL="0" indent="0">
              <a:buNone/>
            </a:pPr>
            <a:endParaRPr lang="nl-BE" sz="2000" dirty="0">
              <a:latin typeface="Crank 8 Regular" panose="02000506030000020004" pitchFamily="2" charset="0"/>
            </a:endParaRPr>
          </a:p>
          <a:p>
            <a:pPr marL="0" indent="0">
              <a:buNone/>
            </a:pPr>
            <a:r>
              <a:rPr lang="nl-BE" sz="2000" dirty="0">
                <a:latin typeface="Crank 8 Regular" panose="02000506030000020004" pitchFamily="2" charset="0"/>
              </a:rPr>
              <a:t>Hinderpremie</a:t>
            </a:r>
          </a:p>
          <a:p>
            <a:pPr marL="0" indent="0">
              <a:buNone/>
            </a:pPr>
            <a:endParaRPr lang="nl-BE" sz="2000" dirty="0">
              <a:latin typeface="Crank 8 Regular" panose="02000506030000020004" pitchFamily="2" charset="0"/>
            </a:endParaRPr>
          </a:p>
          <a:p>
            <a:pPr marL="0" indent="0">
              <a:buNone/>
            </a:pPr>
            <a:r>
              <a:rPr lang="nl-BE" sz="2000" dirty="0">
                <a:latin typeface="Crank 8 Regular" panose="02000506030000020004" pitchFamily="2" charset="0"/>
              </a:rPr>
              <a:t>Compensatiepremie</a:t>
            </a:r>
          </a:p>
          <a:p>
            <a:pPr marL="0" indent="0">
              <a:buNone/>
            </a:pPr>
            <a:endParaRPr lang="nl-BE" sz="2000" dirty="0">
              <a:latin typeface="Crank 8 Regular" panose="02000506030000020004" pitchFamily="2" charset="0"/>
            </a:endParaRPr>
          </a:p>
          <a:p>
            <a:pPr marL="0" indent="0">
              <a:buNone/>
            </a:pPr>
            <a:endParaRPr lang="nl-BE" sz="2000" dirty="0">
              <a:latin typeface="Crank 8 Regular" panose="02000506030000020004" pitchFamily="2" charset="0"/>
            </a:endParaRPr>
          </a:p>
          <a:p>
            <a:pPr marL="0" indent="0">
              <a:buNone/>
            </a:pPr>
            <a:endParaRPr lang="nl-BE" sz="2000" dirty="0">
              <a:latin typeface="Crank 8 Regular" panose="02000506030000020004" pitchFamily="2" charset="0"/>
            </a:endParaRPr>
          </a:p>
          <a:p>
            <a:pPr marL="0" indent="0">
              <a:buNone/>
            </a:pPr>
            <a:endParaRPr lang="nl-BE" dirty="0"/>
          </a:p>
        </p:txBody>
      </p:sp>
      <p:cxnSp>
        <p:nvCxnSpPr>
          <p:cNvPr id="6" name="Straight Connector 24"/>
          <p:cNvCxnSpPr/>
          <p:nvPr/>
        </p:nvCxnSpPr>
        <p:spPr>
          <a:xfrm>
            <a:off x="547758" y="1500888"/>
            <a:ext cx="39471" cy="4656631"/>
          </a:xfrm>
          <a:prstGeom prst="line">
            <a:avLst/>
          </a:prstGeom>
          <a:ln w="1270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9" name="Oval 11"/>
          <p:cNvSpPr/>
          <p:nvPr/>
        </p:nvSpPr>
        <p:spPr>
          <a:xfrm>
            <a:off x="943457" y="1469218"/>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1</a:t>
            </a:r>
            <a:endParaRPr sz="1600" b="1" dirty="0">
              <a:solidFill>
                <a:schemeClr val="bg1"/>
              </a:solidFill>
              <a:latin typeface="Roboto Black" charset="0"/>
              <a:ea typeface="Roboto Black" charset="0"/>
              <a:cs typeface="Roboto Black" charset="0"/>
            </a:endParaRPr>
          </a:p>
        </p:txBody>
      </p:sp>
      <p:sp>
        <p:nvSpPr>
          <p:cNvPr id="11" name="Oval 11"/>
          <p:cNvSpPr/>
          <p:nvPr/>
        </p:nvSpPr>
        <p:spPr>
          <a:xfrm>
            <a:off x="943457" y="2249033"/>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2</a:t>
            </a:r>
            <a:endParaRPr sz="1600" b="1" dirty="0">
              <a:solidFill>
                <a:schemeClr val="bg1"/>
              </a:solidFill>
              <a:latin typeface="Roboto Black" charset="0"/>
              <a:ea typeface="Roboto Black" charset="0"/>
              <a:cs typeface="Roboto Black" charset="0"/>
            </a:endParaRPr>
          </a:p>
        </p:txBody>
      </p:sp>
      <p:sp>
        <p:nvSpPr>
          <p:cNvPr id="12" name="Oval 11"/>
          <p:cNvSpPr/>
          <p:nvPr/>
        </p:nvSpPr>
        <p:spPr>
          <a:xfrm>
            <a:off x="943457" y="3028848"/>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3</a:t>
            </a:r>
            <a:endParaRPr sz="1600" b="1" dirty="0">
              <a:solidFill>
                <a:schemeClr val="bg1"/>
              </a:solidFill>
              <a:latin typeface="Roboto Black" charset="0"/>
              <a:ea typeface="Roboto Black" charset="0"/>
              <a:cs typeface="Roboto Black" charset="0"/>
            </a:endParaRPr>
          </a:p>
        </p:txBody>
      </p:sp>
      <p:sp>
        <p:nvSpPr>
          <p:cNvPr id="13" name="Oval 11"/>
          <p:cNvSpPr/>
          <p:nvPr/>
        </p:nvSpPr>
        <p:spPr>
          <a:xfrm>
            <a:off x="943457" y="3840333"/>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4</a:t>
            </a:r>
          </a:p>
        </p:txBody>
      </p:sp>
      <p:sp>
        <p:nvSpPr>
          <p:cNvPr id="10" name="Oval 11"/>
          <p:cNvSpPr/>
          <p:nvPr/>
        </p:nvSpPr>
        <p:spPr>
          <a:xfrm>
            <a:off x="943457" y="4620148"/>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5</a:t>
            </a:r>
          </a:p>
        </p:txBody>
      </p:sp>
      <p:sp>
        <p:nvSpPr>
          <p:cNvPr id="14" name="Oval 11"/>
          <p:cNvSpPr/>
          <p:nvPr/>
        </p:nvSpPr>
        <p:spPr>
          <a:xfrm>
            <a:off x="943457" y="5431633"/>
            <a:ext cx="559204" cy="543646"/>
          </a:xfrm>
          <a:custGeom>
            <a:avLst/>
            <a:gdLst>
              <a:gd name="connsiteX0" fmla="*/ 0 w 535022"/>
              <a:gd name="connsiteY0" fmla="*/ 267511 h 535021"/>
              <a:gd name="connsiteX1" fmla="*/ 267511 w 535022"/>
              <a:gd name="connsiteY1" fmla="*/ 0 h 535021"/>
              <a:gd name="connsiteX2" fmla="*/ 535022 w 535022"/>
              <a:gd name="connsiteY2" fmla="*/ 267511 h 535021"/>
              <a:gd name="connsiteX3" fmla="*/ 267511 w 535022"/>
              <a:gd name="connsiteY3" fmla="*/ 535022 h 535021"/>
              <a:gd name="connsiteX4" fmla="*/ 0 w 535022"/>
              <a:gd name="connsiteY4" fmla="*/ 267511 h 535021"/>
              <a:gd name="connsiteX0" fmla="*/ 0 w 593388"/>
              <a:gd name="connsiteY0" fmla="*/ 267527 h 535055"/>
              <a:gd name="connsiteX1" fmla="*/ 267511 w 593388"/>
              <a:gd name="connsiteY1" fmla="*/ 16 h 535055"/>
              <a:gd name="connsiteX2" fmla="*/ 593388 w 593388"/>
              <a:gd name="connsiteY2" fmla="*/ 277254 h 535055"/>
              <a:gd name="connsiteX3" fmla="*/ 267511 w 593388"/>
              <a:gd name="connsiteY3" fmla="*/ 535038 h 535055"/>
              <a:gd name="connsiteX4" fmla="*/ 0 w 593388"/>
              <a:gd name="connsiteY4" fmla="*/ 267527 h 535055"/>
              <a:gd name="connsiteX0" fmla="*/ 0 w 632298"/>
              <a:gd name="connsiteY0" fmla="*/ 277239 h 535022"/>
              <a:gd name="connsiteX1" fmla="*/ 306421 w 632298"/>
              <a:gd name="connsiteY1" fmla="*/ 0 h 535022"/>
              <a:gd name="connsiteX2" fmla="*/ 632298 w 632298"/>
              <a:gd name="connsiteY2" fmla="*/ 277238 h 535022"/>
              <a:gd name="connsiteX3" fmla="*/ 306421 w 632298"/>
              <a:gd name="connsiteY3" fmla="*/ 535022 h 535022"/>
              <a:gd name="connsiteX4" fmla="*/ 0 w 632298"/>
              <a:gd name="connsiteY4" fmla="*/ 277239 h 535022"/>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 name="connsiteX0" fmla="*/ 0 w 632298"/>
              <a:gd name="connsiteY0" fmla="*/ 277239 h 583660"/>
              <a:gd name="connsiteX1" fmla="*/ 306421 w 632298"/>
              <a:gd name="connsiteY1" fmla="*/ 0 h 583660"/>
              <a:gd name="connsiteX2" fmla="*/ 632298 w 632298"/>
              <a:gd name="connsiteY2" fmla="*/ 277238 h 583660"/>
              <a:gd name="connsiteX3" fmla="*/ 306421 w 632298"/>
              <a:gd name="connsiteY3" fmla="*/ 583660 h 583660"/>
              <a:gd name="connsiteX4" fmla="*/ 0 w 632298"/>
              <a:gd name="connsiteY4" fmla="*/ 277239 h 583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298" h="583660">
                <a:moveTo>
                  <a:pt x="0" y="277239"/>
                </a:moveTo>
                <a:cubicBezTo>
                  <a:pt x="0" y="128446"/>
                  <a:pt x="201038" y="0"/>
                  <a:pt x="306421" y="0"/>
                </a:cubicBezTo>
                <a:cubicBezTo>
                  <a:pt x="411804" y="0"/>
                  <a:pt x="632298" y="77980"/>
                  <a:pt x="632298" y="277238"/>
                </a:cubicBezTo>
                <a:cubicBezTo>
                  <a:pt x="632298" y="424980"/>
                  <a:pt x="463320" y="583660"/>
                  <a:pt x="306421" y="583660"/>
                </a:cubicBezTo>
                <a:cubicBezTo>
                  <a:pt x="149522" y="583660"/>
                  <a:pt x="0" y="426032"/>
                  <a:pt x="0" y="27723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sz="1600" b="1" dirty="0">
                <a:solidFill>
                  <a:schemeClr val="bg1"/>
                </a:solidFill>
                <a:latin typeface="Roboto Black" charset="0"/>
                <a:ea typeface="Roboto Black" charset="0"/>
                <a:cs typeface="Roboto Black" charset="0"/>
              </a:rPr>
              <a:t>6</a:t>
            </a:r>
          </a:p>
        </p:txBody>
      </p:sp>
    </p:spTree>
    <p:extLst>
      <p:ext uri="{BB962C8B-B14F-4D97-AF65-F5344CB8AC3E}">
        <p14:creationId xmlns:p14="http://schemas.microsoft.com/office/powerpoint/2010/main" val="2117454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pPr marL="61381" indent="0">
              <a:buNone/>
            </a:pPr>
            <a:r>
              <a:rPr lang="nl-BE" sz="1600" b="1" u="sng" dirty="0"/>
              <a:t>Voorwaarden 3.000,00 euro</a:t>
            </a:r>
          </a:p>
          <a:p>
            <a:r>
              <a:rPr lang="nl-BE" sz="1600" b="1" dirty="0"/>
              <a:t>Eenmanszaak</a:t>
            </a:r>
            <a:endParaRPr lang="nl-BE" sz="1600" dirty="0"/>
          </a:p>
          <a:p>
            <a:pPr lvl="1"/>
            <a:r>
              <a:rPr lang="nl-BE" sz="1466" dirty="0"/>
              <a:t>Aangesloten in hoofdberoep</a:t>
            </a:r>
          </a:p>
          <a:p>
            <a:pPr lvl="1"/>
            <a:r>
              <a:rPr lang="nl-BE" sz="1466" dirty="0"/>
              <a:t>Aangesloten in bijberoep en bijdragen volgens hoofdberoep (minstens op een netto belastbaar jaarinkomen </a:t>
            </a:r>
            <a:r>
              <a:rPr lang="nl-BE" sz="1466" b="1" dirty="0"/>
              <a:t>2019 </a:t>
            </a:r>
            <a:r>
              <a:rPr lang="nl-BE" sz="1466" dirty="0"/>
              <a:t>van 13.993,78 euro)</a:t>
            </a:r>
          </a:p>
          <a:p>
            <a:pPr lvl="1"/>
            <a:r>
              <a:rPr lang="nl-BE" sz="1466" dirty="0"/>
              <a:t>Actieve onderneming</a:t>
            </a:r>
          </a:p>
          <a:p>
            <a:pPr lvl="1"/>
            <a:r>
              <a:rPr lang="nl-BE" sz="1466" dirty="0"/>
              <a:t>Actieve exploitatie of uitbatingszetel in Vlaamse gewest</a:t>
            </a:r>
          </a:p>
          <a:p>
            <a:r>
              <a:rPr lang="nl-BE" sz="1600" b="1" dirty="0"/>
              <a:t>Vennootschap</a:t>
            </a:r>
            <a:endParaRPr lang="nl-BE" sz="1600" dirty="0"/>
          </a:p>
          <a:p>
            <a:pPr lvl="1"/>
            <a:r>
              <a:rPr lang="nl-BE" sz="1466" dirty="0"/>
              <a:t>1 werkende vennoot / 1 voltijds equivalent in loondienst</a:t>
            </a:r>
          </a:p>
          <a:p>
            <a:pPr lvl="1"/>
            <a:r>
              <a:rPr lang="nl-BE" sz="1466" dirty="0"/>
              <a:t>Actieve onderneming</a:t>
            </a:r>
          </a:p>
          <a:p>
            <a:pPr lvl="1"/>
            <a:r>
              <a:rPr lang="nl-BE" sz="1466" dirty="0"/>
              <a:t>Actieve exploitatie of uitbatingszetel in Vlaamse gewest</a:t>
            </a:r>
          </a:p>
          <a:p>
            <a:r>
              <a:rPr lang="nl-BE" sz="1600" b="1" dirty="0"/>
              <a:t>Vereniging met economische activiteit</a:t>
            </a:r>
            <a:endParaRPr lang="nl-BE" sz="1600" dirty="0"/>
          </a:p>
          <a:p>
            <a:pPr lvl="1"/>
            <a:r>
              <a:rPr lang="nl-BE" sz="1466" dirty="0"/>
              <a:t>Voltijds equivalent in loondienst</a:t>
            </a:r>
          </a:p>
          <a:p>
            <a:pPr lvl="1"/>
            <a:r>
              <a:rPr lang="nl-BE" sz="1466" dirty="0"/>
              <a:t>Actieve onderneming</a:t>
            </a:r>
          </a:p>
          <a:p>
            <a:pPr lvl="1"/>
            <a:r>
              <a:rPr lang="nl-BE" sz="1466" dirty="0"/>
              <a:t>Actieve exploitatie of uitbatingszetel in Vlaamse gewest</a:t>
            </a:r>
          </a:p>
          <a:p>
            <a:pPr lvl="1"/>
            <a:endParaRPr lang="nl-BE" sz="1600" kern="0"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990590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pPr marL="61381" indent="0">
              <a:buNone/>
            </a:pPr>
            <a:r>
              <a:rPr lang="nl-BE" sz="1600" b="1" u="sng" dirty="0"/>
              <a:t>Voorwaarden 1.500,00 euro</a:t>
            </a:r>
          </a:p>
          <a:p>
            <a:r>
              <a:rPr lang="nl-BE" sz="1600" b="1" dirty="0"/>
              <a:t>Eenmanszaak</a:t>
            </a:r>
            <a:endParaRPr lang="nl-BE" sz="1600" dirty="0"/>
          </a:p>
          <a:p>
            <a:pPr lvl="1"/>
            <a:r>
              <a:rPr lang="nl-BE" sz="1600" dirty="0"/>
              <a:t>Aangesloten in bijberoep/gepensioneerde/student zelfstandige met sociale bijdragen berekend op een netto belastbaar jaarinkomen inkomen 2019 tussen 6.996,89 en 13.993,78 </a:t>
            </a:r>
          </a:p>
          <a:p>
            <a:pPr lvl="1"/>
            <a:r>
              <a:rPr lang="nl-BE" sz="1600" dirty="0"/>
              <a:t>minder dan 80% tewerkgesteld</a:t>
            </a:r>
          </a:p>
          <a:p>
            <a:pPr lvl="1"/>
            <a:r>
              <a:rPr lang="nl-BE" sz="1600" dirty="0"/>
              <a:t>Actieve onderneming</a:t>
            </a:r>
          </a:p>
          <a:p>
            <a:pPr lvl="1"/>
            <a:r>
              <a:rPr lang="nl-BE" sz="1600" dirty="0"/>
              <a:t>Actieve exploitatie of uitbatingszetel in Vlaamse gewest</a:t>
            </a:r>
          </a:p>
          <a:p>
            <a:pPr marL="61381" indent="0">
              <a:buNone/>
            </a:pPr>
            <a:r>
              <a:rPr lang="nl-BE" sz="1600" dirty="0"/>
              <a:t> </a:t>
            </a:r>
          </a:p>
          <a:p>
            <a:r>
              <a:rPr lang="nl-NL" sz="1600" dirty="0"/>
              <a:t>Ook journalisten en andere beroepscategorieën die van rechtswege zijn vrijgesteld van de wettelijke bijdragen kunnen genieten van deze steunmaatregel.</a:t>
            </a:r>
            <a:endParaRPr lang="nl-BE" sz="1600" kern="0"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237165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pPr marL="61381" indent="0">
              <a:buNone/>
            </a:pPr>
            <a:r>
              <a:rPr lang="nl-BE" sz="1600" b="1" u="sng" dirty="0"/>
              <a:t>Hoe omzetverlies aantonen?</a:t>
            </a:r>
          </a:p>
          <a:p>
            <a:r>
              <a:rPr lang="nl-BE" sz="1600" dirty="0"/>
              <a:t>60% omzetverlies ingevolge verminderde prestaties en </a:t>
            </a:r>
            <a:r>
              <a:rPr lang="nl-BE" sz="1600" b="1" dirty="0"/>
              <a:t>niet </a:t>
            </a:r>
            <a:r>
              <a:rPr lang="nl-BE" sz="1600" dirty="0"/>
              <a:t>ingevolge uitgestelde facturatie: </a:t>
            </a:r>
          </a:p>
          <a:p>
            <a:pPr lvl="0"/>
            <a:r>
              <a:rPr lang="en-US" sz="1600" dirty="0" err="1"/>
              <a:t>Periode</a:t>
            </a:r>
            <a:r>
              <a:rPr lang="en-US" sz="1600" dirty="0"/>
              <a:t> = 14/03/2020 </a:t>
            </a:r>
            <a:r>
              <a:rPr lang="en-US" sz="1600" dirty="0" err="1"/>
              <a:t>tem</a:t>
            </a:r>
            <a:r>
              <a:rPr lang="en-US" sz="1600" dirty="0"/>
              <a:t> 30/04/2020</a:t>
            </a:r>
            <a:endParaRPr lang="nl-BE" sz="1600" dirty="0"/>
          </a:p>
          <a:p>
            <a:pPr lvl="0"/>
            <a:r>
              <a:rPr lang="en-US" sz="1600" dirty="0" err="1"/>
              <a:t>Referentie</a:t>
            </a:r>
            <a:r>
              <a:rPr lang="en-US" sz="1600" dirty="0"/>
              <a:t> = 14/03/2019 </a:t>
            </a:r>
            <a:r>
              <a:rPr lang="en-US" sz="1600" dirty="0" err="1"/>
              <a:t>tem</a:t>
            </a:r>
            <a:r>
              <a:rPr lang="en-US" sz="1600" dirty="0"/>
              <a:t> 30/04/2019</a:t>
            </a:r>
            <a:endParaRPr lang="nl-BE" sz="1600" dirty="0"/>
          </a:p>
          <a:p>
            <a:r>
              <a:rPr lang="nl-BE" sz="1600" dirty="0"/>
              <a:t>Kan eventueel vervangen worden door andere referentie periode bij abnormale lage omzet. (bv. Referteperiode was arbeidsongeschiktheid)</a:t>
            </a:r>
          </a:p>
          <a:p>
            <a:pPr marL="61381" indent="0">
              <a:buNone/>
            </a:pPr>
            <a:r>
              <a:rPr lang="nl-BE" sz="1600" dirty="0"/>
              <a:t> </a:t>
            </a:r>
          </a:p>
          <a:p>
            <a:r>
              <a:rPr lang="nl-BE" sz="1600" b="1" dirty="0"/>
              <a:t>Aantonen adhv: </a:t>
            </a:r>
            <a:endParaRPr lang="nl-BE" sz="1600" dirty="0"/>
          </a:p>
          <a:p>
            <a:pPr lvl="1"/>
            <a:r>
              <a:rPr lang="nl-BE" sz="1466" dirty="0"/>
              <a:t>Dagontvangsten</a:t>
            </a:r>
          </a:p>
          <a:p>
            <a:pPr lvl="1"/>
            <a:r>
              <a:rPr lang="nl-BE" sz="1466" dirty="0"/>
              <a:t>Geleverde prestaties</a:t>
            </a:r>
          </a:p>
          <a:p>
            <a:pPr lvl="1"/>
            <a:r>
              <a:rPr lang="nl-BE" sz="1466" dirty="0"/>
              <a:t>Tijdregistratie</a:t>
            </a:r>
          </a:p>
          <a:p>
            <a:endParaRPr lang="nl-BE"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301153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63192"/>
            <a:ext cx="8696329" cy="4943629"/>
          </a:xfrm>
        </p:spPr>
        <p:txBody>
          <a:bodyPr/>
          <a:lstStyle/>
          <a:p>
            <a:r>
              <a:rPr lang="nl-BE" sz="1600" dirty="0"/>
              <a:t>Categorie 5 (omzetdaling + substantiële exploitatiebeperking aantonen):</a:t>
            </a:r>
          </a:p>
          <a:p>
            <a:pPr marL="61381" indent="0">
              <a:buNone/>
            </a:pPr>
            <a:r>
              <a:rPr lang="nl-NL" sz="1600" dirty="0"/>
              <a:t>Ingeval van omzetdaling door substantiële exploitatiebeperkingen, moet de omzetdaling het gevolg zijn van bijvoorbeeld de opgelegde verplichtingen, zoals deze van de social distancing van de werknemers waardoor de onderneming niet op volle toeren kan draaien. De omzetdaling kan eveneens te wijten zijn aan de verminderde afname van producten en diensten door professionele klanten omdat zij hun zaak moesten sluiten. Loutere omzetdaling door verminderde vraag is een onvoldoende reden.</a:t>
            </a:r>
            <a:endParaRPr lang="nl-BE" sz="1600" dirty="0"/>
          </a:p>
          <a:p>
            <a:endParaRPr lang="nl-BE" sz="1600" dirty="0"/>
          </a:p>
          <a:p>
            <a:pPr marL="61381" indent="0">
              <a:buNone/>
            </a:pPr>
            <a:r>
              <a:rPr lang="nl-BE" sz="1600" b="1" dirty="0"/>
              <a:t>Startende ondernemers: </a:t>
            </a:r>
            <a:endParaRPr lang="nl-BE" sz="1600" dirty="0"/>
          </a:p>
          <a:p>
            <a:pPr marL="61381" indent="0">
              <a:buNone/>
            </a:pPr>
            <a:r>
              <a:rPr lang="nl-BE" sz="1600" dirty="0"/>
              <a:t>- 60% omzetverlies aantonen tav financieel plan (mag retroactief opgemaakt worden)</a:t>
            </a:r>
          </a:p>
          <a:p>
            <a:pPr marL="61381" indent="0">
              <a:buNone/>
            </a:pPr>
            <a:endParaRPr lang="nl-BE" sz="1600" dirty="0"/>
          </a:p>
          <a:p>
            <a:pPr marL="61381" indent="0">
              <a:buNone/>
            </a:pPr>
            <a:r>
              <a:rPr lang="nl-BE" sz="1600" b="1" dirty="0"/>
              <a:t>Cumulatie kan met </a:t>
            </a:r>
            <a:r>
              <a:rPr lang="nl-BE" sz="1600" dirty="0"/>
              <a:t>overbruggingsrecht </a:t>
            </a:r>
          </a:p>
          <a:p>
            <a:r>
              <a:rPr lang="nl-BE" sz="1600" b="1" dirty="0"/>
              <a:t>Cumulatie kan NIET met:  </a:t>
            </a:r>
          </a:p>
          <a:p>
            <a:pPr lvl="1"/>
            <a:r>
              <a:rPr lang="nl-BE" sz="1600" dirty="0"/>
              <a:t>Hinderpremie voor zelfde onderneming</a:t>
            </a:r>
          </a:p>
          <a:p>
            <a:pPr lvl="1"/>
            <a:r>
              <a:rPr lang="nl-BE" sz="1600" dirty="0"/>
              <a:t>Achtergestelde leningen in het kader van corona bij PMV</a:t>
            </a:r>
          </a:p>
          <a:p>
            <a:pPr lvl="1"/>
            <a:r>
              <a:rPr lang="nl-BE" sz="1600" dirty="0"/>
              <a:t>De gigarantwaarborg verleend door PMV</a:t>
            </a:r>
          </a:p>
          <a:p>
            <a:pPr lvl="1"/>
            <a:r>
              <a:rPr lang="nl-BE" sz="1600" dirty="0"/>
              <a:t>Sluitingspremie ingevolge hinder openbare werken</a:t>
            </a:r>
          </a:p>
          <a:p>
            <a:pPr marL="61381" indent="0">
              <a:buNone/>
            </a:pPr>
            <a:endParaRPr lang="nl-BE" sz="1600" dirty="0"/>
          </a:p>
          <a:p>
            <a:endParaRPr lang="nl-BE" dirty="0"/>
          </a:p>
        </p:txBody>
      </p:sp>
      <p:sp>
        <p:nvSpPr>
          <p:cNvPr id="3" name="Titel 2"/>
          <p:cNvSpPr>
            <a:spLocks noGrp="1"/>
          </p:cNvSpPr>
          <p:nvPr>
            <p:ph type="title"/>
          </p:nvPr>
        </p:nvSpPr>
        <p:spPr/>
        <p:txBody>
          <a:bodyPr/>
          <a:lstStyle/>
          <a:p>
            <a:r>
              <a:rPr lang="nl-BE" dirty="0"/>
              <a:t>Compensatiepremie</a:t>
            </a:r>
          </a:p>
        </p:txBody>
      </p:sp>
    </p:spTree>
    <p:extLst>
      <p:ext uri="{BB962C8B-B14F-4D97-AF65-F5344CB8AC3E}">
        <p14:creationId xmlns:p14="http://schemas.microsoft.com/office/powerpoint/2010/main" val="200767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p:txBody>
          <a:bodyPr/>
          <a:lstStyle/>
          <a:p>
            <a:endParaRPr lang="nl-BE" dirty="0"/>
          </a:p>
          <a:p>
            <a:pPr lvl="5"/>
            <a:endParaRPr lang="nl-BE" dirty="0"/>
          </a:p>
        </p:txBody>
      </p:sp>
      <p:sp>
        <p:nvSpPr>
          <p:cNvPr id="3" name="Titel 2"/>
          <p:cNvSpPr>
            <a:spLocks noGrp="1"/>
          </p:cNvSpPr>
          <p:nvPr>
            <p:ph type="title"/>
          </p:nvPr>
        </p:nvSpPr>
        <p:spPr/>
        <p:txBody>
          <a:bodyPr/>
          <a:lstStyle/>
          <a:p>
            <a:r>
              <a:rPr lang="nl-BE" dirty="0"/>
              <a:t>Contactgegevens</a:t>
            </a:r>
          </a:p>
        </p:txBody>
      </p:sp>
      <p:pic>
        <p:nvPicPr>
          <p:cNvPr id="4" name="Picture 3">
            <a:extLst>
              <a:ext uri="{FF2B5EF4-FFF2-40B4-BE49-F238E27FC236}">
                <a16:creationId xmlns:a16="http://schemas.microsoft.com/office/drawing/2014/main" id="{FE390DDE-5A8F-4BB0-8AA2-E72667C14473}"/>
              </a:ext>
            </a:extLst>
          </p:cNvPr>
          <p:cNvPicPr>
            <a:picLocks noChangeAspect="1"/>
          </p:cNvPicPr>
          <p:nvPr/>
        </p:nvPicPr>
        <p:blipFill>
          <a:blip r:embed="rId2"/>
          <a:stretch>
            <a:fillRect/>
          </a:stretch>
        </p:blipFill>
        <p:spPr>
          <a:xfrm>
            <a:off x="524112" y="2419099"/>
            <a:ext cx="5275596" cy="2403495"/>
          </a:xfrm>
          <a:prstGeom prst="rect">
            <a:avLst/>
          </a:prstGeom>
        </p:spPr>
      </p:pic>
      <p:sp>
        <p:nvSpPr>
          <p:cNvPr id="6" name="TextBox 5">
            <a:extLst>
              <a:ext uri="{FF2B5EF4-FFF2-40B4-BE49-F238E27FC236}">
                <a16:creationId xmlns:a16="http://schemas.microsoft.com/office/drawing/2014/main" id="{306E093B-3A80-4C89-9700-BCDDD8CDFADA}"/>
              </a:ext>
            </a:extLst>
          </p:cNvPr>
          <p:cNvSpPr txBox="1"/>
          <p:nvPr/>
        </p:nvSpPr>
        <p:spPr>
          <a:xfrm>
            <a:off x="782053" y="1700114"/>
            <a:ext cx="3874168" cy="666786"/>
          </a:xfrm>
          <a:prstGeom prst="rect">
            <a:avLst/>
          </a:prstGeom>
          <a:noFill/>
        </p:spPr>
        <p:txBody>
          <a:bodyPr wrap="square" rtlCol="0">
            <a:spAutoFit/>
          </a:bodyPr>
          <a:lstStyle/>
          <a:p>
            <a:r>
              <a:rPr lang="nl-BE" sz="3733" b="1" dirty="0">
                <a:solidFill>
                  <a:schemeClr val="accent1"/>
                </a:solidFill>
                <a:latin typeface="Crank 8 Plus Two" panose="02000506030000020004" pitchFamily="50" charset="0"/>
                <a:ea typeface="Roboto" panose="02000000000000000000" pitchFamily="2" charset="0"/>
                <a:cs typeface="+mj-cs"/>
              </a:rPr>
              <a:t>Xerius.be</a:t>
            </a:r>
          </a:p>
        </p:txBody>
      </p:sp>
    </p:spTree>
    <p:extLst>
      <p:ext uri="{BB962C8B-B14F-4D97-AF65-F5344CB8AC3E}">
        <p14:creationId xmlns:p14="http://schemas.microsoft.com/office/powerpoint/2010/main" val="421803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C6C949-1663-435C-A903-934F983B45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C6C6C949-1663-435C-A903-934F983B456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BCCF2C55-2330-495C-8AD0-577556B2E0D5}"/>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GB" sz="3200" b="1" dirty="0" err="1">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CCA8744C-3224-064A-A46C-C4BAEB9247C9}"/>
              </a:ext>
            </a:extLst>
          </p:cNvPr>
          <p:cNvSpPr>
            <a:spLocks noGrp="1"/>
          </p:cNvSpPr>
          <p:nvPr>
            <p:ph type="ctrTitle"/>
          </p:nvPr>
        </p:nvSpPr>
        <p:spPr/>
        <p:txBody>
          <a:bodyPr/>
          <a:lstStyle/>
          <a:p>
            <a:r>
              <a:rPr lang="en-GB" dirty="0"/>
              <a:t>Webinar Corona</a:t>
            </a:r>
          </a:p>
        </p:txBody>
      </p:sp>
      <p:sp>
        <p:nvSpPr>
          <p:cNvPr id="3" name="Ondertitel 2">
            <a:extLst>
              <a:ext uri="{FF2B5EF4-FFF2-40B4-BE49-F238E27FC236}">
                <a16:creationId xmlns:a16="http://schemas.microsoft.com/office/drawing/2014/main" id="{C6F6EC1E-664F-8E48-94A2-3F41759257E5}"/>
              </a:ext>
            </a:extLst>
          </p:cNvPr>
          <p:cNvSpPr>
            <a:spLocks noGrp="1"/>
          </p:cNvSpPr>
          <p:nvPr>
            <p:ph type="subTitle" idx="4"/>
          </p:nvPr>
        </p:nvSpPr>
        <p:spPr/>
        <p:txBody>
          <a:bodyPr/>
          <a:lstStyle/>
          <a:p>
            <a:r>
              <a:rPr lang="en-GB" dirty="0" err="1"/>
              <a:t>Uitstel</a:t>
            </a:r>
            <a:r>
              <a:rPr lang="en-GB" dirty="0"/>
              <a:t> BV – RSZ / </a:t>
            </a:r>
            <a:r>
              <a:rPr lang="en-GB" dirty="0" err="1"/>
              <a:t>Fondsen</a:t>
            </a:r>
            <a:r>
              <a:rPr lang="en-GB" dirty="0"/>
              <a:t> – </a:t>
            </a:r>
            <a:r>
              <a:rPr lang="en-GB" dirty="0" err="1"/>
              <a:t>overmacht</a:t>
            </a:r>
            <a:r>
              <a:rPr lang="en-GB" dirty="0"/>
              <a:t> corona -</a:t>
            </a:r>
            <a:r>
              <a:rPr lang="en-GB" dirty="0" err="1"/>
              <a:t>werkloosheid</a:t>
            </a:r>
            <a:endParaRPr lang="en-GB" dirty="0"/>
          </a:p>
        </p:txBody>
      </p:sp>
      <p:sp>
        <p:nvSpPr>
          <p:cNvPr id="4" name="Tijdelijke aanduiding voor tekst 3">
            <a:extLst>
              <a:ext uri="{FF2B5EF4-FFF2-40B4-BE49-F238E27FC236}">
                <a16:creationId xmlns:a16="http://schemas.microsoft.com/office/drawing/2014/main" id="{71AD2B45-372B-4441-BBD2-8C26E01E8709}"/>
              </a:ext>
            </a:extLst>
          </p:cNvPr>
          <p:cNvSpPr>
            <a:spLocks noGrp="1"/>
          </p:cNvSpPr>
          <p:nvPr>
            <p:ph type="body" sz="quarter" idx="10"/>
          </p:nvPr>
        </p:nvSpPr>
        <p:spPr/>
        <p:txBody>
          <a:bodyPr/>
          <a:lstStyle/>
          <a:p>
            <a:r>
              <a:rPr lang="en-GB" dirty="0"/>
              <a:t>April 2020 | Joris Brewaeys  T: 0478 57 53 36  joris.brewaeys@sdworx.com</a:t>
            </a:r>
          </a:p>
        </p:txBody>
      </p:sp>
    </p:spTree>
    <p:extLst>
      <p:ext uri="{BB962C8B-B14F-4D97-AF65-F5344CB8AC3E}">
        <p14:creationId xmlns:p14="http://schemas.microsoft.com/office/powerpoint/2010/main" val="2415993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9D5D14-BF22-400B-9266-F6115ACA7D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3D9D5D14-BF22-400B-9266-F6115ACA7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BF2C69F-31EA-4590-AA03-44A956DCDACE}"/>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2000" b="0" i="0" u="none" strike="noStrike" kern="1200" cap="none" spc="0" normalizeH="0" baseline="0" noProof="0" dirty="0" err="1">
              <a:ln>
                <a:noFill/>
              </a:ln>
              <a:solidFill>
                <a:srgbClr val="FFFFFF"/>
              </a:solidFill>
              <a:effectLst/>
              <a:uLnTx/>
              <a:uFillTx/>
              <a:latin typeface="Arial Standaard"/>
              <a:ea typeface="+mn-ea"/>
              <a:cs typeface="Arial" panose="020B0604020202020204" pitchFamily="34" charset="0"/>
              <a:sym typeface="Arial Standaard"/>
            </a:endParaRPr>
          </a:p>
        </p:txBody>
      </p:sp>
      <p:sp>
        <p:nvSpPr>
          <p:cNvPr id="3" name="Tijdelijke aanduiding voor dianummer 2">
            <a:extLst>
              <a:ext uri="{FF2B5EF4-FFF2-40B4-BE49-F238E27FC236}">
                <a16:creationId xmlns:a16="http://schemas.microsoft.com/office/drawing/2014/main" id="{BA1C9959-BC27-1746-9E04-4459C2F711A8}"/>
              </a:ext>
            </a:extLst>
          </p:cNvPr>
          <p:cNvSpPr>
            <a:spLocks noGrp="1"/>
          </p:cNvSpPr>
          <p:nvPr>
            <p:ph type="sldNum" sz="quarter" idx="7"/>
          </p:nvPr>
        </p:nvSpPr>
        <p:spPr/>
        <p:txBody>
          <a:bodyPr/>
          <a:lstStyle/>
          <a:p>
            <a:pPr marL="25400" marR="0" lvl="0" indent="0" algn="l" defTabSz="914400" rtl="0" eaLnBrk="1" fontAlgn="auto" latinLnBrk="0" hangingPunct="1">
              <a:lnSpc>
                <a:spcPts val="111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FFFFFF"/>
                </a:solidFill>
                <a:effectLst/>
                <a:uLnTx/>
                <a:uFillTx/>
                <a:latin typeface="Arial"/>
                <a:ea typeface="+mn-ea"/>
                <a:cs typeface="Arial"/>
              </a:rPr>
              <a:t>2</a:t>
            </a:r>
            <a:endParaRPr kumimoji="0" lang="tr-TR" sz="1000" b="0" i="0" u="none" strike="noStrike" kern="1200" cap="none" spc="0" normalizeH="0" baseline="0" noProof="0" dirty="0">
              <a:ln>
                <a:noFill/>
              </a:ln>
              <a:solidFill>
                <a:srgbClr val="FFFFFF"/>
              </a:solidFill>
              <a:effectLst/>
              <a:uLnTx/>
              <a:uFillTx/>
              <a:latin typeface="Arial"/>
              <a:ea typeface="+mn-ea"/>
              <a:cs typeface="Arial"/>
            </a:endParaRPr>
          </a:p>
        </p:txBody>
      </p:sp>
      <p:sp>
        <p:nvSpPr>
          <p:cNvPr id="4" name="Titel 3">
            <a:extLst>
              <a:ext uri="{FF2B5EF4-FFF2-40B4-BE49-F238E27FC236}">
                <a16:creationId xmlns:a16="http://schemas.microsoft.com/office/drawing/2014/main" id="{C9234302-1E74-1A43-8B6D-32AF2ECCA37B}"/>
              </a:ext>
            </a:extLst>
          </p:cNvPr>
          <p:cNvSpPr>
            <a:spLocks noGrp="1"/>
          </p:cNvSpPr>
          <p:nvPr>
            <p:ph type="title"/>
          </p:nvPr>
        </p:nvSpPr>
        <p:spPr>
          <a:xfrm>
            <a:off x="195851" y="190618"/>
            <a:ext cx="11769408" cy="734933"/>
          </a:xfrm>
        </p:spPr>
        <p:txBody>
          <a:bodyPr/>
          <a:lstStyle/>
          <a:p>
            <a:pPr algn="l"/>
            <a:r>
              <a:rPr lang="nl-BE" sz="2800" dirty="0"/>
              <a:t>Uitstel Bedrijfsvoorheffing </a:t>
            </a:r>
            <a:endParaRPr lang="en-GB" sz="2800" dirty="0"/>
          </a:p>
        </p:txBody>
      </p:sp>
      <p:sp>
        <p:nvSpPr>
          <p:cNvPr id="8" name="Tekstvak 7">
            <a:extLst>
              <a:ext uri="{FF2B5EF4-FFF2-40B4-BE49-F238E27FC236}">
                <a16:creationId xmlns:a16="http://schemas.microsoft.com/office/drawing/2014/main" id="{9A2F127E-7033-42E2-BD88-03F83722C3BB}"/>
              </a:ext>
            </a:extLst>
          </p:cNvPr>
          <p:cNvSpPr txBox="1"/>
          <p:nvPr/>
        </p:nvSpPr>
        <p:spPr>
          <a:xfrm>
            <a:off x="1007234" y="4014997"/>
            <a:ext cx="1137424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400" b="0" i="0" u="none" strike="noStrike" kern="1200" cap="none" spc="0" normalizeH="0" baseline="0" noProof="0" dirty="0">
                <a:ln>
                  <a:noFill/>
                </a:ln>
                <a:solidFill>
                  <a:srgbClr val="57595C"/>
                </a:solidFill>
                <a:effectLst/>
                <a:uLnTx/>
                <a:uFillTx/>
                <a:latin typeface="Arial"/>
                <a:ea typeface="+mn-ea"/>
                <a:cs typeface="+mn-cs"/>
              </a:rPr>
              <a:t>Overheid introduceerde uitstel voor bedrijfsvoorheff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p:txBody>
      </p:sp>
      <p:sp>
        <p:nvSpPr>
          <p:cNvPr id="7" name="Rectangle 6">
            <a:extLst>
              <a:ext uri="{FF2B5EF4-FFF2-40B4-BE49-F238E27FC236}">
                <a16:creationId xmlns:a16="http://schemas.microsoft.com/office/drawing/2014/main" id="{5B8CF335-853E-49F7-A2FA-689208858014}"/>
              </a:ext>
            </a:extLst>
          </p:cNvPr>
          <p:cNvSpPr>
            <a:spLocks noChangeArrowheads="1"/>
          </p:cNvSpPr>
          <p:nvPr/>
        </p:nvSpPr>
        <p:spPr bwMode="auto">
          <a:xfrm>
            <a:off x="605790" y="1363244"/>
            <a:ext cx="10149840" cy="3093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altLang="nl-BE" b="0" i="0" u="none" strike="noStrike" kern="1200" cap="none" spc="0" normalizeH="0" baseline="0" noProof="0" dirty="0">
                <a:ln>
                  <a:noFill/>
                </a:ln>
                <a:solidFill>
                  <a:srgbClr val="6B6969"/>
                </a:solidFill>
                <a:effectLst/>
                <a:uLnTx/>
                <a:uFillTx/>
                <a:latin typeface="Arial"/>
                <a:ea typeface="+mn-ea"/>
                <a:cs typeface="+mn-cs"/>
              </a:rPr>
              <a:t>Voor het uitstel van betaling voor bedrijfsvoorheffing moeten volgende betaaltermijnen gerespecteerd worden.</a:t>
            </a:r>
            <a:br>
              <a:rPr kumimoji="0" lang="nl-BE" altLang="nl-BE" sz="1600" b="0" i="0" u="none" strike="noStrike" kern="1200" cap="none" spc="0" normalizeH="0" baseline="0" noProof="0" dirty="0">
                <a:ln>
                  <a:noFill/>
                </a:ln>
                <a:solidFill>
                  <a:srgbClr val="6B6969"/>
                </a:solidFill>
                <a:effectLst/>
                <a:uLnTx/>
                <a:uFillTx/>
                <a:latin typeface="Arial"/>
                <a:ea typeface="+mn-ea"/>
                <a:cs typeface="+mn-cs"/>
              </a:rPr>
            </a:br>
            <a:br>
              <a:rPr kumimoji="0" lang="nl-BE" altLang="nl-BE" sz="1600" b="0" i="0" u="none" strike="noStrike" kern="1200" cap="none" spc="0" normalizeH="0" baseline="0" noProof="0" dirty="0">
                <a:ln>
                  <a:noFill/>
                </a:ln>
                <a:solidFill>
                  <a:srgbClr val="6B6969"/>
                </a:solidFill>
                <a:effectLst/>
                <a:uLnTx/>
                <a:uFillTx/>
                <a:latin typeface="Arial"/>
                <a:ea typeface="+mn-ea"/>
                <a:cs typeface="+mn-cs"/>
              </a:rPr>
            </a:br>
            <a:endParaRPr kumimoji="0" lang="nl-BE" altLang="nl-BE" sz="16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BE" altLang="nl-BE" sz="1600" b="0" i="0" u="none" strike="noStrike" kern="1200" cap="none" spc="0" normalizeH="0" baseline="0" noProof="0" dirty="0">
                <a:ln>
                  <a:noFill/>
                </a:ln>
                <a:solidFill>
                  <a:srgbClr val="6B6969"/>
                </a:solidFill>
                <a:effectLst/>
                <a:uLnTx/>
                <a:uFillTx/>
                <a:latin typeface="Roboto"/>
                <a:ea typeface="+mn-ea"/>
                <a:cs typeface="+mn-cs"/>
              </a:rPr>
              <a:t>              </a:t>
            </a:r>
            <a:r>
              <a:rPr kumimoji="0" lang="nl-BE" altLang="nl-BE" sz="12700" b="0" i="0" u="none" strike="noStrike" kern="1200" cap="none" spc="0" normalizeH="0" baseline="0" noProof="0" dirty="0">
                <a:ln>
                  <a:noFill/>
                </a:ln>
                <a:solidFill>
                  <a:srgbClr val="6B6969"/>
                </a:solidFill>
                <a:effectLst/>
                <a:uLnTx/>
                <a:uFillTx/>
                <a:latin typeface="Roboto"/>
                <a:ea typeface="+mn-ea"/>
                <a:cs typeface="+mn-cs"/>
              </a:rPr>
              <a:t>    </a:t>
            </a:r>
            <a:endParaRPr kumimoji="0" lang="nl-BE" altLang="nl-BE" sz="1800" b="0" i="0" u="none" strike="noStrike" kern="1200" cap="none" spc="0" normalizeH="0" baseline="0" noProof="0" dirty="0">
              <a:ln>
                <a:noFill/>
              </a:ln>
              <a:solidFill>
                <a:srgbClr val="57595C"/>
              </a:solidFill>
              <a:effectLst/>
              <a:uLnTx/>
              <a:uFillTx/>
              <a:latin typeface="Arial" panose="020B0604020202020204" pitchFamily="34" charset="0"/>
              <a:ea typeface="+mn-ea"/>
              <a:cs typeface="+mn-cs"/>
            </a:endParaRPr>
          </a:p>
        </p:txBody>
      </p:sp>
      <p:pic>
        <p:nvPicPr>
          <p:cNvPr id="13319" name="Picture 7">
            <a:hlinkClick r:id="rId8"/>
            <a:extLst>
              <a:ext uri="{FF2B5EF4-FFF2-40B4-BE49-F238E27FC236}">
                <a16:creationId xmlns:a16="http://schemas.microsoft.com/office/drawing/2014/main" id="{5F503DBA-67B0-4ABA-99D1-8BFAC1EE105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1515" y="1986172"/>
            <a:ext cx="10064115" cy="3557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5390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9D5D14-BF22-400B-9266-F6115ACA7D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3D9D5D14-BF22-400B-9266-F6115ACA7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BF2C69F-31EA-4590-AA03-44A956DCDACE}"/>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err="1">
              <a:ln>
                <a:noFill/>
              </a:ln>
              <a:solidFill>
                <a:srgbClr val="FFFFFF"/>
              </a:solidFill>
              <a:effectLst/>
              <a:uLnTx/>
              <a:uFillTx/>
              <a:latin typeface="Arial Standaard"/>
              <a:ea typeface="+mn-ea"/>
              <a:cs typeface="Arial"/>
              <a:sym typeface="Arial Standaard"/>
            </a:endParaRPr>
          </a:p>
        </p:txBody>
      </p:sp>
      <p:sp>
        <p:nvSpPr>
          <p:cNvPr id="3" name="Tijdelijke aanduiding voor dianummer 2">
            <a:extLst>
              <a:ext uri="{FF2B5EF4-FFF2-40B4-BE49-F238E27FC236}">
                <a16:creationId xmlns:a16="http://schemas.microsoft.com/office/drawing/2014/main" id="{BA1C9959-BC27-1746-9E04-4459C2F711A8}"/>
              </a:ext>
            </a:extLst>
          </p:cNvPr>
          <p:cNvSpPr>
            <a:spLocks noGrp="1"/>
          </p:cNvSpPr>
          <p:nvPr>
            <p:ph type="sldNum" sz="quarter" idx="7"/>
          </p:nvPr>
        </p:nvSpPr>
        <p:spPr/>
        <p:txBody>
          <a:bodyPr/>
          <a:lstStyle/>
          <a:p>
            <a:pPr marL="25400" marR="0" lvl="0" indent="0" algn="l" defTabSz="914400" rtl="0" eaLnBrk="1" fontAlgn="auto" latinLnBrk="0" hangingPunct="1">
              <a:lnSpc>
                <a:spcPts val="111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FFFFFF"/>
                </a:solidFill>
                <a:effectLst/>
                <a:uLnTx/>
                <a:uFillTx/>
                <a:latin typeface="Arial"/>
                <a:ea typeface="+mn-ea"/>
                <a:cs typeface="Arial"/>
              </a:rPr>
              <a:t>3</a:t>
            </a:r>
            <a:endParaRPr kumimoji="0" lang="tr-TR" sz="1000" b="0" i="0" u="none" strike="noStrike" kern="1200" cap="none" spc="0" normalizeH="0" baseline="0" noProof="0" dirty="0">
              <a:ln>
                <a:noFill/>
              </a:ln>
              <a:solidFill>
                <a:srgbClr val="FFFFFF"/>
              </a:solidFill>
              <a:effectLst/>
              <a:uLnTx/>
              <a:uFillTx/>
              <a:latin typeface="Arial"/>
              <a:ea typeface="+mn-ea"/>
              <a:cs typeface="Arial"/>
            </a:endParaRPr>
          </a:p>
        </p:txBody>
      </p:sp>
      <p:sp>
        <p:nvSpPr>
          <p:cNvPr id="4" name="Titel 3">
            <a:extLst>
              <a:ext uri="{FF2B5EF4-FFF2-40B4-BE49-F238E27FC236}">
                <a16:creationId xmlns:a16="http://schemas.microsoft.com/office/drawing/2014/main" id="{C9234302-1E74-1A43-8B6D-32AF2ECCA37B}"/>
              </a:ext>
            </a:extLst>
          </p:cNvPr>
          <p:cNvSpPr>
            <a:spLocks noGrp="1"/>
          </p:cNvSpPr>
          <p:nvPr>
            <p:ph type="title"/>
          </p:nvPr>
        </p:nvSpPr>
        <p:spPr>
          <a:xfrm>
            <a:off x="195851" y="540830"/>
            <a:ext cx="11769408" cy="384721"/>
          </a:xfrm>
        </p:spPr>
        <p:txBody>
          <a:bodyPr/>
          <a:lstStyle/>
          <a:p>
            <a:r>
              <a:rPr lang="en-GB" sz="2800" dirty="0" err="1"/>
              <a:t>Uitstel</a:t>
            </a:r>
            <a:r>
              <a:rPr lang="en-GB" sz="2800" dirty="0"/>
              <a:t> RSZ</a:t>
            </a:r>
          </a:p>
        </p:txBody>
      </p:sp>
      <p:sp>
        <p:nvSpPr>
          <p:cNvPr id="7" name="Rechthoek 6">
            <a:extLst>
              <a:ext uri="{FF2B5EF4-FFF2-40B4-BE49-F238E27FC236}">
                <a16:creationId xmlns:a16="http://schemas.microsoft.com/office/drawing/2014/main" id="{A4D81210-A8EE-4533-B4E7-F08432993CC0}"/>
              </a:ext>
            </a:extLst>
          </p:cNvPr>
          <p:cNvSpPr/>
          <p:nvPr/>
        </p:nvSpPr>
        <p:spPr>
          <a:xfrm>
            <a:off x="195850" y="1930400"/>
            <a:ext cx="4656253" cy="411480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2 maanden uitstel voo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Maandaangiften februari, maart en apri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Kwartaalaangifte Q1/202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1" i="0" u="none" strike="noStrike" kern="1200" cap="none" spc="0" normalizeH="0" baseline="0" noProof="0" dirty="0">
                <a:ln>
                  <a:noFill/>
                </a:ln>
                <a:solidFill>
                  <a:srgbClr val="575A5C"/>
                </a:solidFill>
                <a:effectLst/>
                <a:uLnTx/>
                <a:uFillTx/>
                <a:latin typeface="Arial"/>
                <a:ea typeface="+mn-ea"/>
                <a:cs typeface="Arial"/>
              </a:rPr>
              <a:t>Automatisch uitstel </a:t>
            </a:r>
            <a:r>
              <a:rPr kumimoji="0" lang="nl-BE" sz="1600" b="0" i="0" u="none" strike="noStrike" kern="1200" cap="none" spc="0" normalizeH="0" baseline="0" noProof="0" dirty="0">
                <a:ln>
                  <a:noFill/>
                </a:ln>
                <a:solidFill>
                  <a:srgbClr val="575A5C"/>
                </a:solidFill>
                <a:effectLst/>
                <a:uLnTx/>
                <a:uFillTx/>
                <a:latin typeface="Arial"/>
                <a:ea typeface="+mn-ea"/>
                <a:cs typeface="Arial"/>
              </a:rPr>
              <a:t>voor alle onderneming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SD Worx past dit uitstel volgens de instructies automatisch to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Mogelijkheid tot </a:t>
            </a:r>
            <a:r>
              <a:rPr kumimoji="0" lang="nl-BE" sz="1600" b="0" i="0" u="none" strike="noStrike" kern="1200" cap="none" spc="0" normalizeH="0" baseline="0" noProof="0" dirty="0" err="1">
                <a:ln>
                  <a:noFill/>
                </a:ln>
                <a:solidFill>
                  <a:srgbClr val="575A5C"/>
                </a:solidFill>
                <a:effectLst/>
                <a:uLnTx/>
                <a:uFillTx/>
                <a:latin typeface="Arial"/>
                <a:ea typeface="+mn-ea"/>
                <a:cs typeface="Arial"/>
              </a:rPr>
              <a:t>Opting</a:t>
            </a:r>
            <a:r>
              <a:rPr kumimoji="0" lang="nl-BE" sz="1600" b="0" i="0" u="none" strike="noStrike" kern="1200" cap="none" spc="0" normalizeH="0" baseline="0" noProof="0" dirty="0">
                <a:ln>
                  <a:noFill/>
                </a:ln>
                <a:solidFill>
                  <a:srgbClr val="575A5C"/>
                </a:solidFill>
                <a:effectLst/>
                <a:uLnTx/>
                <a:uFillTx/>
                <a:latin typeface="Arial"/>
                <a:ea typeface="+mn-ea"/>
                <a:cs typeface="Arial"/>
              </a:rPr>
              <a:t> Out met behulp van een verklaring op e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4/5</a:t>
            </a:r>
            <a:r>
              <a:rPr kumimoji="0" lang="nl-BE" sz="1600" b="0" i="0" u="none" strike="noStrike" kern="1200" cap="none" spc="0" normalizeH="0" baseline="30000" noProof="0" dirty="0">
                <a:ln>
                  <a:noFill/>
                </a:ln>
                <a:solidFill>
                  <a:srgbClr val="575A5C"/>
                </a:solidFill>
                <a:effectLst/>
                <a:uLnTx/>
                <a:uFillTx/>
                <a:latin typeface="Arial"/>
                <a:ea typeface="+mn-ea"/>
                <a:cs typeface="Arial"/>
              </a:rPr>
              <a:t>de</a:t>
            </a:r>
            <a:r>
              <a:rPr kumimoji="0" lang="nl-BE" sz="1600" b="0" i="0" u="none" strike="noStrike" kern="1200" cap="none" spc="0" normalizeH="0" baseline="0" noProof="0" dirty="0">
                <a:ln>
                  <a:noFill/>
                </a:ln>
                <a:solidFill>
                  <a:srgbClr val="575A5C"/>
                </a:solidFill>
                <a:effectLst/>
                <a:uLnTx/>
                <a:uFillTx/>
                <a:latin typeface="Arial"/>
                <a:ea typeface="+mn-ea"/>
                <a:cs typeface="Arial"/>
              </a:rPr>
              <a:t> van de ondernemingen volgt het uitstel van betalingen</a:t>
            </a: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Rechthoek 7">
            <a:extLst>
              <a:ext uri="{FF2B5EF4-FFF2-40B4-BE49-F238E27FC236}">
                <a16:creationId xmlns:a16="http://schemas.microsoft.com/office/drawing/2014/main" id="{5189DF60-D116-4831-8672-2D1DE3A2C263}"/>
              </a:ext>
            </a:extLst>
          </p:cNvPr>
          <p:cNvSpPr/>
          <p:nvPr/>
        </p:nvSpPr>
        <p:spPr>
          <a:xfrm>
            <a:off x="195851" y="1930400"/>
            <a:ext cx="11680840" cy="411480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Uitstel betaling tot 15 december 2020 voo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Bijdragen 1</a:t>
            </a:r>
            <a:r>
              <a:rPr kumimoji="0" lang="nl-BE" sz="1600" b="0" i="0" u="none" strike="noStrike" kern="1200" cap="none" spc="0" normalizeH="0" baseline="30000" noProof="0" dirty="0">
                <a:ln>
                  <a:noFill/>
                </a:ln>
                <a:solidFill>
                  <a:srgbClr val="575A5C"/>
                </a:solidFill>
                <a:effectLst/>
                <a:uLnTx/>
                <a:uFillTx/>
                <a:latin typeface="Arial"/>
                <a:ea typeface="+mn-ea"/>
                <a:cs typeface="Arial"/>
              </a:rPr>
              <a:t>ste</a:t>
            </a:r>
            <a:r>
              <a:rPr kumimoji="0" lang="nl-BE" sz="1600" b="0" i="0" u="none" strike="noStrike" kern="1200" cap="none" spc="0" normalizeH="0" baseline="0" noProof="0" dirty="0">
                <a:ln>
                  <a:noFill/>
                </a:ln>
                <a:solidFill>
                  <a:srgbClr val="575A5C"/>
                </a:solidFill>
                <a:effectLst/>
                <a:uLnTx/>
                <a:uFillTx/>
                <a:latin typeface="Arial"/>
                <a:ea typeface="+mn-ea"/>
                <a:cs typeface="Arial"/>
              </a:rPr>
              <a:t> en 2</a:t>
            </a:r>
            <a:r>
              <a:rPr kumimoji="0" lang="nl-BE" sz="1600" b="0" i="0" u="none" strike="noStrike" kern="1200" cap="none" spc="0" normalizeH="0" baseline="30000" noProof="0" dirty="0">
                <a:ln>
                  <a:noFill/>
                </a:ln>
                <a:solidFill>
                  <a:srgbClr val="575A5C"/>
                </a:solidFill>
                <a:effectLst/>
                <a:uLnTx/>
                <a:uFillTx/>
                <a:latin typeface="Arial"/>
                <a:ea typeface="+mn-ea"/>
                <a:cs typeface="Arial"/>
              </a:rPr>
              <a:t>de</a:t>
            </a:r>
            <a:r>
              <a:rPr kumimoji="0" lang="nl-BE" sz="1600" b="0" i="0" u="none" strike="noStrike" kern="1200" cap="none" spc="0" normalizeH="0" baseline="0" noProof="0" dirty="0">
                <a:ln>
                  <a:noFill/>
                </a:ln>
                <a:solidFill>
                  <a:srgbClr val="575A5C"/>
                </a:solidFill>
                <a:effectLst/>
                <a:uLnTx/>
                <a:uFillTx/>
                <a:latin typeface="Arial"/>
                <a:ea typeface="+mn-ea"/>
                <a:cs typeface="Arial"/>
              </a:rPr>
              <a:t> kwartaal 2020</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Jaarlijkse vakantie arbeid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Maandelijks schijven lopende afbetalingsplanne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p:txBody>
      </p:sp>
      <p:sp>
        <p:nvSpPr>
          <p:cNvPr id="10" name="Rechthoek 9">
            <a:extLst>
              <a:ext uri="{FF2B5EF4-FFF2-40B4-BE49-F238E27FC236}">
                <a16:creationId xmlns:a16="http://schemas.microsoft.com/office/drawing/2014/main" id="{AF0E63B6-3DF4-47C4-80BD-8E10D4881A5B}"/>
              </a:ext>
            </a:extLst>
          </p:cNvPr>
          <p:cNvSpPr/>
          <p:nvPr/>
        </p:nvSpPr>
        <p:spPr>
          <a:xfrm>
            <a:off x="195851" y="1280160"/>
            <a:ext cx="11680840" cy="568960"/>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srgbClr val="FFFFFF"/>
                </a:solidFill>
                <a:effectLst/>
                <a:uLnTx/>
                <a:uFillTx/>
                <a:latin typeface="Arial"/>
                <a:ea typeface="+mn-ea"/>
                <a:cs typeface="Arial"/>
              </a:rPr>
              <a:t>RSZ-BIJDRAGEN</a:t>
            </a:r>
          </a:p>
        </p:txBody>
      </p:sp>
      <p:sp>
        <p:nvSpPr>
          <p:cNvPr id="11" name="Rechthoek 10">
            <a:extLst>
              <a:ext uri="{FF2B5EF4-FFF2-40B4-BE49-F238E27FC236}">
                <a16:creationId xmlns:a16="http://schemas.microsoft.com/office/drawing/2014/main" id="{EB5B3088-8AAC-4BD4-930A-3E658250379A}"/>
              </a:ext>
            </a:extLst>
          </p:cNvPr>
          <p:cNvSpPr/>
          <p:nvPr/>
        </p:nvSpPr>
        <p:spPr>
          <a:xfrm>
            <a:off x="604799" y="3233854"/>
            <a:ext cx="4984471" cy="2698595"/>
          </a:xfrm>
          <a:prstGeom prst="rect">
            <a:avLst/>
          </a:prstGeom>
          <a:solidFill>
            <a:schemeClr val="accent2">
              <a:lumMod val="20000"/>
              <a:lumOff val="80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1" i="0" u="sng" strike="noStrike" kern="1200" cap="none" spc="0" normalizeH="0" baseline="0" noProof="0" dirty="0">
                <a:ln>
                  <a:noFill/>
                </a:ln>
                <a:solidFill>
                  <a:srgbClr val="74787A"/>
                </a:solidFill>
                <a:effectLst/>
                <a:uLnTx/>
                <a:uFillTx/>
                <a:latin typeface="Arial"/>
                <a:ea typeface="+mn-ea"/>
                <a:cs typeface="Arial"/>
              </a:rPr>
              <a:t>Automatisch uits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Voor werkgevers die </a:t>
            </a:r>
            <a:r>
              <a:rPr kumimoji="0" lang="nl-BE" sz="1400" b="1" i="0" u="none" strike="noStrike" kern="1200" cap="none" spc="0" normalizeH="0" baseline="0" noProof="0" dirty="0">
                <a:ln>
                  <a:noFill/>
                </a:ln>
                <a:solidFill>
                  <a:srgbClr val="74787A"/>
                </a:solidFill>
                <a:effectLst/>
                <a:uLnTx/>
                <a:uFillTx/>
                <a:latin typeface="Arial"/>
                <a:ea typeface="+mn-ea"/>
                <a:cs typeface="Arial"/>
              </a:rPr>
              <a:t>verplicht volledig</a:t>
            </a:r>
            <a:r>
              <a:rPr kumimoji="0" lang="nl-BE" sz="1400" b="0" i="0" u="none" strike="noStrike" kern="1200" cap="none" spc="0" normalizeH="0" baseline="0" noProof="0" dirty="0">
                <a:ln>
                  <a:noFill/>
                </a:ln>
                <a:solidFill>
                  <a:srgbClr val="74787A"/>
                </a:solidFill>
                <a:effectLst/>
                <a:uLnTx/>
                <a:uFillTx/>
                <a:latin typeface="Arial"/>
                <a:ea typeface="+mn-ea"/>
                <a:cs typeface="Arial"/>
              </a:rPr>
              <a:t> moeten slui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SD Worx past dit uitstel volgens de instructies automatisch to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Mogelijkheid tot </a:t>
            </a:r>
            <a:r>
              <a:rPr kumimoji="0" lang="nl-BE" sz="1400" b="1" i="0" u="none" strike="noStrike" kern="1200" cap="none" spc="0" normalizeH="0" baseline="0" noProof="0" dirty="0" err="1">
                <a:ln>
                  <a:noFill/>
                </a:ln>
                <a:solidFill>
                  <a:srgbClr val="74787A"/>
                </a:solidFill>
                <a:effectLst/>
                <a:uLnTx/>
                <a:uFillTx/>
                <a:latin typeface="Arial"/>
                <a:ea typeface="+mn-ea"/>
                <a:cs typeface="Arial"/>
              </a:rPr>
              <a:t>Opting</a:t>
            </a:r>
            <a:r>
              <a:rPr kumimoji="0" lang="nl-BE" sz="1400" b="1" i="0" u="none" strike="noStrike" kern="1200" cap="none" spc="0" normalizeH="0" baseline="0" noProof="0" dirty="0">
                <a:ln>
                  <a:noFill/>
                </a:ln>
                <a:solidFill>
                  <a:srgbClr val="74787A"/>
                </a:solidFill>
                <a:effectLst/>
                <a:uLnTx/>
                <a:uFillTx/>
                <a:latin typeface="Arial"/>
                <a:ea typeface="+mn-ea"/>
                <a:cs typeface="Arial"/>
              </a:rPr>
              <a:t> Out </a:t>
            </a:r>
            <a:r>
              <a:rPr kumimoji="0" lang="nl-BE" sz="1400" b="0" i="0" u="none" strike="noStrike" kern="1200" cap="none" spc="0" normalizeH="0" baseline="0" noProof="0" dirty="0">
                <a:ln>
                  <a:noFill/>
                </a:ln>
                <a:solidFill>
                  <a:srgbClr val="74787A"/>
                </a:solidFill>
                <a:effectLst/>
                <a:uLnTx/>
                <a:uFillTx/>
                <a:latin typeface="Arial"/>
                <a:ea typeface="+mn-ea"/>
                <a:cs typeface="Arial"/>
              </a:rPr>
              <a:t>met behulp van een verklaring op eer</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3" name="Rechthoek 12">
            <a:extLst>
              <a:ext uri="{FF2B5EF4-FFF2-40B4-BE49-F238E27FC236}">
                <a16:creationId xmlns:a16="http://schemas.microsoft.com/office/drawing/2014/main" id="{E636748E-4E69-4757-9CB3-790D9406B3EE}"/>
              </a:ext>
            </a:extLst>
          </p:cNvPr>
          <p:cNvSpPr/>
          <p:nvPr/>
        </p:nvSpPr>
        <p:spPr>
          <a:xfrm>
            <a:off x="5589270" y="3233854"/>
            <a:ext cx="6137910" cy="2698595"/>
          </a:xfrm>
          <a:prstGeom prst="rect">
            <a:avLst/>
          </a:prstGeom>
          <a:solidFill>
            <a:schemeClr val="accent2">
              <a:lumMod val="20000"/>
              <a:lumOff val="80000"/>
            </a:schemeClr>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1" i="0" u="sng" strike="noStrike" kern="1200" cap="none" spc="0" normalizeH="0" baseline="0" noProof="0" dirty="0">
                <a:ln>
                  <a:noFill/>
                </a:ln>
                <a:solidFill>
                  <a:srgbClr val="74787A"/>
                </a:solidFill>
                <a:effectLst/>
                <a:uLnTx/>
                <a:uFillTx/>
                <a:latin typeface="Arial"/>
                <a:ea typeface="+mn-ea"/>
                <a:cs typeface="Arial"/>
              </a:rPr>
              <a:t>Geen automatisch uits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Werkgevers die </a:t>
            </a:r>
            <a:r>
              <a:rPr kumimoji="0" lang="nl-BE" sz="1400" b="1" i="0" u="none" strike="noStrike" kern="1200" cap="none" spc="0" normalizeH="0" baseline="0" noProof="0" dirty="0">
                <a:ln>
                  <a:noFill/>
                </a:ln>
                <a:solidFill>
                  <a:srgbClr val="74787A"/>
                </a:solidFill>
                <a:effectLst/>
                <a:uLnTx/>
                <a:uFillTx/>
                <a:latin typeface="Arial"/>
                <a:ea typeface="+mn-ea"/>
                <a:cs typeface="Arial"/>
              </a:rPr>
              <a:t>volledig zijn gesloten maar dit niet verplicht zijn</a:t>
            </a:r>
            <a:r>
              <a:rPr kumimoji="0" lang="nl-BE" sz="1400" b="0" i="0" u="none" strike="noStrike" kern="1200" cap="none" spc="0" normalizeH="0" baseline="0" noProof="0" dirty="0">
                <a:ln>
                  <a:noFill/>
                </a:ln>
                <a:solidFill>
                  <a:srgbClr val="74787A"/>
                </a:solidFill>
                <a:effectLst/>
                <a:uLnTx/>
                <a:uFillTx/>
                <a:latin typeface="Arial"/>
                <a:ea typeface="+mn-ea"/>
                <a:cs typeface="Arial"/>
              </a:rPr>
              <a:t> (sanitaire of andere dan sanitaire reden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Werkgevers met </a:t>
            </a:r>
            <a:r>
              <a:rPr kumimoji="0" lang="nl-BE" sz="1400" b="1" i="0" u="none" strike="noStrike" kern="1200" cap="none" spc="0" normalizeH="0" baseline="0" noProof="0" dirty="0">
                <a:ln>
                  <a:noFill/>
                </a:ln>
                <a:solidFill>
                  <a:srgbClr val="74787A"/>
                </a:solidFill>
                <a:effectLst/>
                <a:uLnTx/>
                <a:uFillTx/>
                <a:latin typeface="Arial"/>
                <a:ea typeface="+mn-ea"/>
                <a:cs typeface="Arial"/>
              </a:rPr>
              <a:t>zwaar verminderde economische activiteit </a:t>
            </a:r>
            <a:r>
              <a:rPr kumimoji="0" lang="nl-BE" sz="1400" b="0" i="0" u="none" strike="noStrike" kern="1200" cap="none" spc="0" normalizeH="0" baseline="0" noProof="0" dirty="0">
                <a:ln>
                  <a:noFill/>
                </a:ln>
                <a:solidFill>
                  <a:srgbClr val="74787A"/>
                </a:solidFill>
                <a:effectLst/>
                <a:uLnTx/>
                <a:uFillTx/>
                <a:latin typeface="Arial"/>
                <a:ea typeface="+mn-ea"/>
                <a:cs typeface="Arial"/>
              </a:rPr>
              <a:t>(daling loonmassa en/of omzet) Je verwacht dat de </a:t>
            </a:r>
            <a:r>
              <a:rPr kumimoji="0" lang="nl-BE" sz="1400" b="0" i="0" u="none" strike="noStrike" kern="1200" cap="none" spc="0" normalizeH="0" baseline="0" noProof="0" dirty="0" err="1">
                <a:ln>
                  <a:noFill/>
                </a:ln>
                <a:solidFill>
                  <a:srgbClr val="74787A"/>
                </a:solidFill>
                <a:effectLst/>
                <a:uLnTx/>
                <a:uFillTx/>
                <a:latin typeface="Arial"/>
                <a:ea typeface="+mn-ea"/>
                <a:cs typeface="Arial"/>
              </a:rPr>
              <a:t>BTW-aangifte</a:t>
            </a:r>
            <a:r>
              <a:rPr kumimoji="0" lang="nl-BE" sz="1400" b="0" i="0" u="none" strike="noStrike" kern="1200" cap="none" spc="0" normalizeH="0" baseline="0" noProof="0" dirty="0">
                <a:ln>
                  <a:noFill/>
                </a:ln>
                <a:solidFill>
                  <a:srgbClr val="74787A"/>
                </a:solidFill>
                <a:effectLst/>
                <a:uLnTx/>
                <a:uFillTx/>
                <a:latin typeface="Arial"/>
                <a:ea typeface="+mn-ea"/>
                <a:cs typeface="Arial"/>
              </a:rPr>
              <a:t> van Q2 2020 65% lager ligt dan Q1 2020 of Q2 201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De aan te geven loonmassa voor Q2 2020 ligt 65% lager dan Q1 2020 of Q2 201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74787A"/>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400" b="0" i="0" u="none" strike="noStrike" kern="1200" cap="none" spc="0" normalizeH="0" baseline="0" noProof="0" dirty="0">
                <a:ln>
                  <a:noFill/>
                </a:ln>
                <a:solidFill>
                  <a:srgbClr val="74787A"/>
                </a:solidFill>
                <a:effectLst/>
                <a:uLnTx/>
                <a:uFillTx/>
                <a:latin typeface="Arial"/>
                <a:ea typeface="+mn-ea"/>
                <a:cs typeface="Arial"/>
              </a:rPr>
              <a:t>Mogelijkheid tot </a:t>
            </a:r>
            <a:r>
              <a:rPr kumimoji="0" lang="nl-BE" sz="1400" b="1" i="0" u="none" strike="noStrike" kern="1200" cap="none" spc="0" normalizeH="0" baseline="0" noProof="0" dirty="0" err="1">
                <a:ln>
                  <a:noFill/>
                </a:ln>
                <a:solidFill>
                  <a:srgbClr val="74787A"/>
                </a:solidFill>
                <a:effectLst/>
                <a:uLnTx/>
                <a:uFillTx/>
                <a:latin typeface="Arial"/>
                <a:ea typeface="+mn-ea"/>
                <a:cs typeface="Arial"/>
              </a:rPr>
              <a:t>Opting</a:t>
            </a:r>
            <a:r>
              <a:rPr kumimoji="0" lang="nl-BE" sz="1400" b="1" i="0" u="none" strike="noStrike" kern="1200" cap="none" spc="0" normalizeH="0" baseline="0" noProof="0" dirty="0">
                <a:ln>
                  <a:noFill/>
                </a:ln>
                <a:solidFill>
                  <a:srgbClr val="74787A"/>
                </a:solidFill>
                <a:effectLst/>
                <a:uLnTx/>
                <a:uFillTx/>
                <a:latin typeface="Arial"/>
                <a:ea typeface="+mn-ea"/>
                <a:cs typeface="Arial"/>
              </a:rPr>
              <a:t> IN </a:t>
            </a:r>
            <a:r>
              <a:rPr kumimoji="0" lang="nl-BE" sz="1400" b="0" i="0" u="none" strike="noStrike" kern="1200" cap="none" spc="0" normalizeH="0" baseline="0" noProof="0" dirty="0">
                <a:ln>
                  <a:noFill/>
                </a:ln>
                <a:solidFill>
                  <a:srgbClr val="74787A"/>
                </a:solidFill>
                <a:effectLst/>
                <a:uLnTx/>
                <a:uFillTx/>
                <a:latin typeface="Arial"/>
                <a:ea typeface="+mn-ea"/>
                <a:cs typeface="Arial"/>
              </a:rPr>
              <a:t>met behulp van een verklaring op eer</a:t>
            </a:r>
          </a:p>
        </p:txBody>
      </p:sp>
    </p:spTree>
    <p:extLst>
      <p:ext uri="{BB962C8B-B14F-4D97-AF65-F5344CB8AC3E}">
        <p14:creationId xmlns:p14="http://schemas.microsoft.com/office/powerpoint/2010/main" val="12819795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9D5D14-BF22-400B-9266-F6115ACA7D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3D9D5D14-BF22-400B-9266-F6115ACA7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BF2C69F-31EA-4590-AA03-44A956DCDACE}"/>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err="1">
              <a:ln>
                <a:noFill/>
              </a:ln>
              <a:solidFill>
                <a:srgbClr val="FFFFFF"/>
              </a:solidFill>
              <a:effectLst/>
              <a:uLnTx/>
              <a:uFillTx/>
              <a:latin typeface="Arial Standaard"/>
              <a:ea typeface="+mn-ea"/>
              <a:cs typeface="Arial"/>
              <a:sym typeface="Arial Standaard"/>
            </a:endParaRPr>
          </a:p>
        </p:txBody>
      </p:sp>
      <p:sp>
        <p:nvSpPr>
          <p:cNvPr id="4" name="Titel 3">
            <a:extLst>
              <a:ext uri="{FF2B5EF4-FFF2-40B4-BE49-F238E27FC236}">
                <a16:creationId xmlns:a16="http://schemas.microsoft.com/office/drawing/2014/main" id="{C9234302-1E74-1A43-8B6D-32AF2ECCA37B}"/>
              </a:ext>
            </a:extLst>
          </p:cNvPr>
          <p:cNvSpPr>
            <a:spLocks noGrp="1"/>
          </p:cNvSpPr>
          <p:nvPr>
            <p:ph type="title"/>
          </p:nvPr>
        </p:nvSpPr>
        <p:spPr>
          <a:xfrm>
            <a:off x="195851" y="540830"/>
            <a:ext cx="11769408" cy="384721"/>
          </a:xfrm>
        </p:spPr>
        <p:txBody>
          <a:bodyPr/>
          <a:lstStyle/>
          <a:p>
            <a:r>
              <a:rPr lang="en-GB" sz="2400" dirty="0"/>
              <a:t>Ook </a:t>
            </a:r>
            <a:r>
              <a:rPr lang="en-GB" sz="2400" dirty="0" err="1"/>
              <a:t>bepaalde</a:t>
            </a:r>
            <a:r>
              <a:rPr lang="en-GB" sz="2400" dirty="0"/>
              <a:t> </a:t>
            </a:r>
            <a:r>
              <a:rPr lang="en-GB" sz="2400" dirty="0" err="1"/>
              <a:t>fondsen</a:t>
            </a:r>
            <a:r>
              <a:rPr lang="en-GB" sz="2400" dirty="0"/>
              <a:t> </a:t>
            </a:r>
            <a:r>
              <a:rPr lang="en-GB" sz="2400" dirty="0" err="1"/>
              <a:t>volgden</a:t>
            </a:r>
            <a:r>
              <a:rPr lang="en-GB" sz="2400" dirty="0"/>
              <a:t> en </a:t>
            </a:r>
            <a:r>
              <a:rPr lang="en-GB" sz="2400" dirty="0" err="1"/>
              <a:t>introduceerden</a:t>
            </a:r>
            <a:r>
              <a:rPr lang="en-GB" sz="2400" dirty="0"/>
              <a:t> </a:t>
            </a:r>
            <a:r>
              <a:rPr lang="en-GB" sz="2400" dirty="0" err="1"/>
              <a:t>een</a:t>
            </a:r>
            <a:r>
              <a:rPr lang="en-GB" sz="2400" dirty="0"/>
              <a:t> eigen </a:t>
            </a:r>
            <a:r>
              <a:rPr lang="en-GB" sz="2400" dirty="0" err="1"/>
              <a:t>regeling</a:t>
            </a:r>
            <a:r>
              <a:rPr lang="en-GB" sz="2400" dirty="0"/>
              <a:t> in het </a:t>
            </a:r>
            <a:r>
              <a:rPr lang="en-GB" sz="2400" dirty="0" err="1"/>
              <a:t>kader</a:t>
            </a:r>
            <a:r>
              <a:rPr lang="en-GB" sz="2400" dirty="0"/>
              <a:t> van </a:t>
            </a:r>
            <a:r>
              <a:rPr lang="en-GB" sz="2400" dirty="0" err="1"/>
              <a:t>uitstel</a:t>
            </a:r>
            <a:r>
              <a:rPr lang="en-GB" sz="2400" dirty="0"/>
              <a:t> </a:t>
            </a:r>
            <a:r>
              <a:rPr lang="en-GB" sz="2400" dirty="0" err="1"/>
              <a:t>betaling</a:t>
            </a:r>
            <a:endParaRPr lang="en-GB" sz="2400" dirty="0"/>
          </a:p>
        </p:txBody>
      </p:sp>
      <p:sp>
        <p:nvSpPr>
          <p:cNvPr id="7" name="Rechthoek 6">
            <a:extLst>
              <a:ext uri="{FF2B5EF4-FFF2-40B4-BE49-F238E27FC236}">
                <a16:creationId xmlns:a16="http://schemas.microsoft.com/office/drawing/2014/main" id="{A4D81210-A8EE-4533-B4E7-F08432993CC0}"/>
              </a:ext>
            </a:extLst>
          </p:cNvPr>
          <p:cNvSpPr/>
          <p:nvPr/>
        </p:nvSpPr>
        <p:spPr>
          <a:xfrm>
            <a:off x="714190" y="1930400"/>
            <a:ext cx="5219412" cy="411480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2 maanden uitstel voor bijdragen Q1/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1 maand uitstel voor bijdragen Q2/202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1" i="0" u="none" strike="noStrike" kern="1200" cap="none" spc="0" normalizeH="0" baseline="0" noProof="0" dirty="0">
                <a:ln>
                  <a:noFill/>
                </a:ln>
                <a:solidFill>
                  <a:srgbClr val="575A5C"/>
                </a:solidFill>
                <a:effectLst/>
                <a:uLnTx/>
                <a:uFillTx/>
                <a:latin typeface="Arial"/>
                <a:ea typeface="+mn-ea"/>
                <a:cs typeface="Arial"/>
              </a:rPr>
              <a:t>Automatisch uitstel </a:t>
            </a:r>
            <a:r>
              <a:rPr kumimoji="0" lang="nl-BE" sz="1600" b="0" i="0" u="none" strike="noStrike" kern="1200" cap="none" spc="0" normalizeH="0" baseline="0" noProof="0" dirty="0">
                <a:ln>
                  <a:noFill/>
                </a:ln>
                <a:solidFill>
                  <a:srgbClr val="575A5C"/>
                </a:solidFill>
                <a:effectLst/>
                <a:uLnTx/>
                <a:uFillTx/>
                <a:latin typeface="Arial"/>
                <a:ea typeface="+mn-ea"/>
                <a:cs typeface="Arial"/>
              </a:rPr>
              <a:t>voor alle ondernemingen binnen NPC 124.0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SD Worx past dit uitstel volgens de instructies automatisch to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9" name="Rechthoek 8">
            <a:extLst>
              <a:ext uri="{FF2B5EF4-FFF2-40B4-BE49-F238E27FC236}">
                <a16:creationId xmlns:a16="http://schemas.microsoft.com/office/drawing/2014/main" id="{91E28EBC-DB6E-4F78-A0DD-F2B6B01397C6}"/>
              </a:ext>
            </a:extLst>
          </p:cNvPr>
          <p:cNvSpPr/>
          <p:nvPr/>
        </p:nvSpPr>
        <p:spPr>
          <a:xfrm>
            <a:off x="714190" y="1280160"/>
            <a:ext cx="5219412" cy="568960"/>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srgbClr val="FFFFFF"/>
                </a:solidFill>
                <a:effectLst/>
                <a:uLnTx/>
                <a:uFillTx/>
                <a:latin typeface="Arial"/>
                <a:ea typeface="+mn-ea"/>
                <a:cs typeface="Arial"/>
              </a:rPr>
              <a:t>Fonds Bouw (PDOK)</a:t>
            </a:r>
          </a:p>
        </p:txBody>
      </p:sp>
      <p:sp>
        <p:nvSpPr>
          <p:cNvPr id="10" name="Rechthoek 9">
            <a:extLst>
              <a:ext uri="{FF2B5EF4-FFF2-40B4-BE49-F238E27FC236}">
                <a16:creationId xmlns:a16="http://schemas.microsoft.com/office/drawing/2014/main" id="{AF0E63B6-3DF4-47C4-80BD-8E10D4881A5B}"/>
              </a:ext>
            </a:extLst>
          </p:cNvPr>
          <p:cNvSpPr/>
          <p:nvPr/>
        </p:nvSpPr>
        <p:spPr>
          <a:xfrm>
            <a:off x="6258398" y="1280160"/>
            <a:ext cx="5219412" cy="568960"/>
          </a:xfrm>
          <a:prstGeom prst="rect">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srgbClr val="FFFFFF"/>
                </a:solidFill>
                <a:effectLst/>
                <a:uLnTx/>
                <a:uFillTx/>
                <a:latin typeface="Arial"/>
                <a:ea typeface="+mn-ea"/>
                <a:cs typeface="Arial"/>
              </a:rPr>
              <a:t>Fonds Horeca</a:t>
            </a:r>
          </a:p>
        </p:txBody>
      </p:sp>
      <p:sp>
        <p:nvSpPr>
          <p:cNvPr id="12" name="Rechthoek 11">
            <a:extLst>
              <a:ext uri="{FF2B5EF4-FFF2-40B4-BE49-F238E27FC236}">
                <a16:creationId xmlns:a16="http://schemas.microsoft.com/office/drawing/2014/main" id="{655DC1DF-48F6-4FC5-AD2C-D17C6A828912}"/>
              </a:ext>
            </a:extLst>
          </p:cNvPr>
          <p:cNvSpPr/>
          <p:nvPr/>
        </p:nvSpPr>
        <p:spPr>
          <a:xfrm>
            <a:off x="6258398" y="1930400"/>
            <a:ext cx="5219412" cy="4114800"/>
          </a:xfrm>
          <a:prstGeom prst="rect">
            <a:avLst/>
          </a:prstGeom>
          <a:solidFill>
            <a:schemeClr val="tx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Uitstel voor bijdragen maart tem juni tot 6 oktober 202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1" i="0" u="none" strike="noStrike" kern="1200" cap="none" spc="0" normalizeH="0" baseline="0" noProof="0" dirty="0">
                <a:ln>
                  <a:noFill/>
                </a:ln>
                <a:solidFill>
                  <a:srgbClr val="575A5C"/>
                </a:solidFill>
                <a:effectLst/>
                <a:uLnTx/>
                <a:uFillTx/>
                <a:latin typeface="Arial"/>
                <a:ea typeface="+mn-ea"/>
                <a:cs typeface="Arial"/>
              </a:rPr>
              <a:t>Automatisch uitstel </a:t>
            </a:r>
            <a:r>
              <a:rPr kumimoji="0" lang="nl-BE" sz="1600" b="0" i="0" u="none" strike="noStrike" kern="1200" cap="none" spc="0" normalizeH="0" baseline="0" noProof="0" dirty="0">
                <a:ln>
                  <a:noFill/>
                </a:ln>
                <a:solidFill>
                  <a:srgbClr val="575A5C"/>
                </a:solidFill>
                <a:effectLst/>
                <a:uLnTx/>
                <a:uFillTx/>
                <a:latin typeface="Arial"/>
                <a:ea typeface="+mn-ea"/>
                <a:cs typeface="Arial"/>
              </a:rPr>
              <a:t>voor alle ondernemingen binnen NPC 302.0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600" b="0" i="0" u="none" strike="noStrike" kern="1200" cap="none" spc="0" normalizeH="0" baseline="0" noProof="0" dirty="0">
                <a:ln>
                  <a:noFill/>
                </a:ln>
                <a:solidFill>
                  <a:srgbClr val="575A5C"/>
                </a:solidFill>
                <a:effectLst/>
                <a:uLnTx/>
                <a:uFillTx/>
                <a:latin typeface="Arial"/>
                <a:ea typeface="+mn-ea"/>
                <a:cs typeface="Arial"/>
              </a:rPr>
              <a:t>SD Worx past dit uitstel volgens de instructies automatisch toe, met uitzondering van de werkgevers die expliciet </a:t>
            </a:r>
            <a:r>
              <a:rPr kumimoji="0" lang="nl-BE" sz="1600" b="0" i="0" u="none" strike="noStrike" kern="1200" cap="none" spc="0" normalizeH="0" baseline="0" noProof="0" dirty="0" err="1">
                <a:ln>
                  <a:noFill/>
                </a:ln>
                <a:solidFill>
                  <a:srgbClr val="575A5C"/>
                </a:solidFill>
                <a:effectLst/>
                <a:uLnTx/>
                <a:uFillTx/>
                <a:latin typeface="Arial"/>
                <a:ea typeface="+mn-ea"/>
                <a:cs typeface="Arial"/>
              </a:rPr>
              <a:t>opting</a:t>
            </a:r>
            <a:r>
              <a:rPr kumimoji="0" lang="nl-BE" sz="1600" b="0" i="0" u="none" strike="noStrike" kern="1200" cap="none" spc="0" normalizeH="0" baseline="0" noProof="0" dirty="0">
                <a:ln>
                  <a:noFill/>
                </a:ln>
                <a:solidFill>
                  <a:srgbClr val="575A5C"/>
                </a:solidFill>
                <a:effectLst/>
                <a:uLnTx/>
                <a:uFillTx/>
                <a:latin typeface="Arial"/>
                <a:ea typeface="+mn-ea"/>
                <a:cs typeface="Arial"/>
              </a:rPr>
              <a:t>-out hebben gedaan in het kader van RSZ-bijdra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575A5C"/>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5444942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9D5D14-BF22-400B-9266-F6115ACA7DC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3D9D5D14-BF22-400B-9266-F6115ACA7D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CBF2C69F-31EA-4590-AA03-44A956DCDACE}"/>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2000" b="0" i="0" u="none" strike="noStrike" kern="1200" cap="none" spc="0" normalizeH="0" baseline="0" noProof="0" dirty="0" err="1">
              <a:ln>
                <a:noFill/>
              </a:ln>
              <a:solidFill>
                <a:srgbClr val="FFFFFF"/>
              </a:solidFill>
              <a:effectLst/>
              <a:uLnTx/>
              <a:uFillTx/>
              <a:latin typeface="Arial Standaard"/>
              <a:ea typeface="+mn-ea"/>
              <a:cs typeface="Arial" panose="020B0604020202020204" pitchFamily="34" charset="0"/>
              <a:sym typeface="Arial Standaard"/>
            </a:endParaRPr>
          </a:p>
        </p:txBody>
      </p:sp>
      <p:sp>
        <p:nvSpPr>
          <p:cNvPr id="3" name="Tijdelijke aanduiding voor dianummer 2">
            <a:extLst>
              <a:ext uri="{FF2B5EF4-FFF2-40B4-BE49-F238E27FC236}">
                <a16:creationId xmlns:a16="http://schemas.microsoft.com/office/drawing/2014/main" id="{BA1C9959-BC27-1746-9E04-4459C2F711A8}"/>
              </a:ext>
            </a:extLst>
          </p:cNvPr>
          <p:cNvSpPr>
            <a:spLocks noGrp="1"/>
          </p:cNvSpPr>
          <p:nvPr>
            <p:ph type="sldNum" sz="quarter" idx="7"/>
          </p:nvPr>
        </p:nvSpPr>
        <p:spPr/>
        <p:txBody>
          <a:bodyPr/>
          <a:lstStyle/>
          <a:p>
            <a:pPr marL="25400" marR="0" lvl="0" indent="0" algn="l" defTabSz="914400" rtl="0" eaLnBrk="1" fontAlgn="auto" latinLnBrk="0" hangingPunct="1">
              <a:lnSpc>
                <a:spcPts val="1110"/>
              </a:lnSpc>
              <a:spcBef>
                <a:spcPts val="0"/>
              </a:spcBef>
              <a:spcAft>
                <a:spcPts val="0"/>
              </a:spcAft>
              <a:buClrTx/>
              <a:buSzTx/>
              <a:buFontTx/>
              <a:buNone/>
              <a:tabLst/>
              <a:defRPr/>
            </a:pPr>
            <a:fld id="{81D60167-4931-47E6-BA6A-407CBD079E47}" type="slidenum">
              <a:rPr kumimoji="0" lang="tr-TR" sz="1000" b="0" i="0" u="none" strike="noStrike" kern="1200" cap="none" spc="0" normalizeH="0" baseline="0" noProof="0" smtClean="0">
                <a:ln>
                  <a:noFill/>
                </a:ln>
                <a:solidFill>
                  <a:srgbClr val="FFFFFF"/>
                </a:solidFill>
                <a:effectLst/>
                <a:uLnTx/>
                <a:uFillTx/>
                <a:latin typeface="Arial"/>
                <a:ea typeface="+mn-ea"/>
                <a:cs typeface="Arial"/>
              </a:rPr>
              <a:pPr marL="25400" marR="0" lvl="0" indent="0" algn="l" defTabSz="914400" rtl="0" eaLnBrk="1" fontAlgn="auto" latinLnBrk="0" hangingPunct="1">
                <a:lnSpc>
                  <a:spcPts val="1110"/>
                </a:lnSpc>
                <a:spcBef>
                  <a:spcPts val="0"/>
                </a:spcBef>
                <a:spcAft>
                  <a:spcPts val="0"/>
                </a:spcAft>
                <a:buClrTx/>
                <a:buSzTx/>
                <a:buFontTx/>
                <a:buNone/>
                <a:tabLst/>
                <a:defRPr/>
              </a:pPr>
              <a:t>29</a:t>
            </a:fld>
            <a:endParaRPr kumimoji="0" lang="tr-TR" sz="1000" b="0" i="0" u="none" strike="noStrike" kern="1200" cap="none" spc="0" normalizeH="0" baseline="0" noProof="0" dirty="0">
              <a:ln>
                <a:noFill/>
              </a:ln>
              <a:solidFill>
                <a:srgbClr val="FFFFFF"/>
              </a:solidFill>
              <a:effectLst/>
              <a:uLnTx/>
              <a:uFillTx/>
              <a:latin typeface="Arial"/>
              <a:ea typeface="+mn-ea"/>
              <a:cs typeface="Arial"/>
            </a:endParaRPr>
          </a:p>
        </p:txBody>
      </p:sp>
      <p:sp>
        <p:nvSpPr>
          <p:cNvPr id="4" name="Titel 3">
            <a:extLst>
              <a:ext uri="{FF2B5EF4-FFF2-40B4-BE49-F238E27FC236}">
                <a16:creationId xmlns:a16="http://schemas.microsoft.com/office/drawing/2014/main" id="{C9234302-1E74-1A43-8B6D-32AF2ECCA37B}"/>
              </a:ext>
            </a:extLst>
          </p:cNvPr>
          <p:cNvSpPr>
            <a:spLocks noGrp="1"/>
          </p:cNvSpPr>
          <p:nvPr>
            <p:ph type="title"/>
          </p:nvPr>
        </p:nvSpPr>
        <p:spPr>
          <a:xfrm>
            <a:off x="195851" y="190618"/>
            <a:ext cx="11769408" cy="734933"/>
          </a:xfrm>
        </p:spPr>
        <p:txBody>
          <a:bodyPr/>
          <a:lstStyle/>
          <a:p>
            <a:pPr algn="l"/>
            <a:r>
              <a:rPr lang="nl-BE" sz="2800" dirty="0"/>
              <a:t>Overmacht Corona - werkloosheid</a:t>
            </a:r>
            <a:endParaRPr lang="en-GB" sz="2800" dirty="0"/>
          </a:p>
        </p:txBody>
      </p:sp>
      <p:sp>
        <p:nvSpPr>
          <p:cNvPr id="8" name="Tekstvak 7">
            <a:extLst>
              <a:ext uri="{FF2B5EF4-FFF2-40B4-BE49-F238E27FC236}">
                <a16:creationId xmlns:a16="http://schemas.microsoft.com/office/drawing/2014/main" id="{9A2F127E-7033-42E2-BD88-03F83722C3BB}"/>
              </a:ext>
            </a:extLst>
          </p:cNvPr>
          <p:cNvSpPr txBox="1"/>
          <p:nvPr/>
        </p:nvSpPr>
        <p:spPr>
          <a:xfrm>
            <a:off x="401444" y="1248937"/>
            <a:ext cx="11374244" cy="59708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1" i="0" u="none" strike="noStrike" kern="1200" cap="none" spc="0" normalizeH="0" baseline="0" noProof="0" dirty="0">
                <a:ln>
                  <a:noFill/>
                </a:ln>
                <a:solidFill>
                  <a:srgbClr val="57595C"/>
                </a:solidFill>
                <a:effectLst/>
                <a:uLnTx/>
                <a:uFillTx/>
                <a:latin typeface="Arial"/>
                <a:ea typeface="+mn-ea"/>
                <a:cs typeface="+mn-cs"/>
              </a:rPr>
              <a:t>Wat moet je doen als werkgever </a:t>
            </a:r>
            <a:r>
              <a:rPr kumimoji="0" lang="nl-BE" sz="1800" b="0" i="0" u="none" strike="noStrike" kern="1200" cap="none" spc="0" normalizeH="0" baseline="0" noProof="0" dirty="0">
                <a:ln>
                  <a:noFill/>
                </a:ln>
                <a:solidFill>
                  <a:srgbClr val="57595C"/>
                </a:solidFill>
                <a:effectLst/>
                <a:uLnTx/>
                <a:uFillTx/>
                <a:latin typeface="Arial"/>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Dagen overmacht aanduiden in de loonopgave/ payroll-kalender ( let wel steeds volledige dagen).  RVA wordt hiervan automatisch op de hoogte gesteld door </a:t>
            </a:r>
            <a:r>
              <a:rPr kumimoji="0" lang="nl-BE" sz="1800" b="0" i="0" u="none" strike="noStrike" kern="1200" cap="none" spc="0" normalizeH="0" baseline="0" noProof="0" dirty="0" err="1">
                <a:ln>
                  <a:noFill/>
                </a:ln>
                <a:solidFill>
                  <a:srgbClr val="57595C"/>
                </a:solidFill>
                <a:effectLst/>
                <a:uLnTx/>
                <a:uFillTx/>
                <a:latin typeface="Arial"/>
                <a:ea typeface="+mn-ea"/>
                <a:cs typeface="+mn-cs"/>
              </a:rPr>
              <a:t>Sd</a:t>
            </a:r>
            <a:r>
              <a:rPr kumimoji="0" lang="nl-BE" sz="1800" b="0" i="0" u="none" strike="noStrike" kern="1200" cap="none" spc="0" normalizeH="0" baseline="0" noProof="0" dirty="0">
                <a:ln>
                  <a:noFill/>
                </a:ln>
                <a:solidFill>
                  <a:srgbClr val="57595C"/>
                </a:solidFill>
                <a:effectLst/>
                <a:uLnTx/>
                <a:uFillTx/>
                <a:latin typeface="Arial"/>
                <a:ea typeface="+mn-ea"/>
                <a:cs typeface="+mn-cs"/>
              </a:rPr>
              <a:t> Wor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Werknemers dienen zelf nog hun C 3.2. werknemersdocument in bij hun vakbond en/of </a:t>
            </a:r>
            <a:r>
              <a:rPr kumimoji="0" lang="nl-BE" sz="1800" b="0" i="0" u="none" strike="noStrike" kern="1200" cap="none" spc="0" normalizeH="0" baseline="0" noProof="0" dirty="0" err="1">
                <a:ln>
                  <a:noFill/>
                </a:ln>
                <a:solidFill>
                  <a:srgbClr val="57595C"/>
                </a:solidFill>
                <a:effectLst/>
                <a:uLnTx/>
                <a:uFillTx/>
                <a:latin typeface="Arial"/>
                <a:ea typeface="+mn-ea"/>
                <a:cs typeface="+mn-cs"/>
              </a:rPr>
              <a:t>Hulpkas</a:t>
            </a:r>
            <a:r>
              <a:rPr kumimoji="0" lang="nl-BE" sz="1800" b="0" i="0" u="none" strike="noStrike" kern="1200" cap="none" spc="0" normalizeH="0" baseline="0" noProof="0" dirty="0">
                <a:ln>
                  <a:noFill/>
                </a:ln>
                <a:solidFill>
                  <a:srgbClr val="57595C"/>
                </a:solidFill>
                <a:effectLst/>
                <a:uLnTx/>
                <a:uFillTx/>
                <a:latin typeface="Arial"/>
                <a:ea typeface="+mn-ea"/>
                <a:cs typeface="+mn-cs"/>
              </a:rPr>
              <a:t> voor werklooshe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Wie tijdelijk werkloos is als gevolg van het coronavirus, krijgt momenteel en dit tot 30.06.2020 een werkloosheidsuitkering van 70 % berekend op het gemiddeld loon, evenwel begrensd op 2.754,76 EUR/maand.  Bovenop de werkloosheidsuitkering ontvangt de werknemer een supplement van 5,63 EUR/werkloosheidsdag. De aanvullende vergoeding op de werkloosheidsuitkering is wel onderworpen aan bedrijfsvoorheffing. Deze bedraagt 26,7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Blijft je onderneming open : geef je werknemers een verklaring/ attest woon-werkverkeer me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Alle </a:t>
            </a:r>
            <a:r>
              <a:rPr kumimoji="0" lang="nl-BE" sz="1800" b="0" i="0" u="none" strike="noStrike" kern="1200" cap="none" spc="0" normalizeH="0" baseline="0" noProof="0" dirty="0" err="1">
                <a:ln>
                  <a:noFill/>
                </a:ln>
                <a:solidFill>
                  <a:srgbClr val="57595C"/>
                </a:solidFill>
                <a:effectLst/>
                <a:uLnTx/>
                <a:uFillTx/>
                <a:latin typeface="Arial"/>
                <a:ea typeface="+mn-ea"/>
                <a:cs typeface="+mn-cs"/>
              </a:rPr>
              <a:t>Faqs</a:t>
            </a:r>
            <a:r>
              <a:rPr kumimoji="0" lang="nl-BE" sz="1800" b="0" i="0" u="none" strike="noStrike" kern="1200" cap="none" spc="0" normalizeH="0" baseline="0" noProof="0" dirty="0">
                <a:ln>
                  <a:noFill/>
                </a:ln>
                <a:solidFill>
                  <a:srgbClr val="57595C"/>
                </a:solidFill>
                <a:effectLst/>
                <a:uLnTx/>
                <a:uFillTx/>
                <a:latin typeface="Arial"/>
                <a:ea typeface="+mn-ea"/>
                <a:cs typeface="+mn-cs"/>
              </a:rPr>
              <a:t> zowel voor werkgever als werknemer hebben wij per thema gebundeld op onze websi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57595C"/>
                </a:solidFill>
                <a:effectLst/>
                <a:uLnTx/>
                <a:uFillTx/>
                <a:latin typeface="Arial"/>
                <a:ea typeface="+mn-ea"/>
                <a:cs typeface="+mn-cs"/>
              </a:rPr>
              <a:t>     </a:t>
            </a:r>
            <a:r>
              <a:rPr kumimoji="0" lang="nl-BE" sz="2000" b="0" i="0" u="none" strike="noStrike" kern="1200" cap="none" spc="0" normalizeH="0" baseline="0" noProof="0" dirty="0">
                <a:ln>
                  <a:noFill/>
                </a:ln>
                <a:solidFill>
                  <a:srgbClr val="57595C"/>
                </a:solidFill>
                <a:effectLst/>
                <a:uLnTx/>
                <a:uFillTx/>
                <a:latin typeface="Arial"/>
                <a:ea typeface="+mn-ea"/>
                <a:cs typeface="+mn-cs"/>
              </a:rPr>
              <a:t>www.sdworxcorona.be</a:t>
            </a: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400" b="0" i="0" u="none" strike="noStrike" kern="1200" cap="none" spc="0" normalizeH="0" baseline="0" noProof="0" dirty="0">
              <a:ln>
                <a:noFill/>
              </a:ln>
              <a:solidFill>
                <a:srgbClr val="57595C"/>
              </a:solidFill>
              <a:effectLst/>
              <a:uLnTx/>
              <a:uFillTx/>
              <a:latin typeface="Arial"/>
              <a:ea typeface="+mn-ea"/>
              <a:cs typeface="+mn-cs"/>
            </a:endParaRPr>
          </a:p>
        </p:txBody>
      </p:sp>
    </p:spTree>
    <p:extLst>
      <p:ext uri="{BB962C8B-B14F-4D97-AF65-F5344CB8AC3E}">
        <p14:creationId xmlns:p14="http://schemas.microsoft.com/office/powerpoint/2010/main" val="367012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55059"/>
            <a:ext cx="9656835" cy="4951762"/>
          </a:xfrm>
        </p:spPr>
        <p:txBody>
          <a:bodyPr/>
          <a:lstStyle/>
          <a:p>
            <a:pPr marL="61381" indent="0">
              <a:buNone/>
            </a:pPr>
            <a:r>
              <a:rPr lang="nl-BE" sz="1600" b="1" dirty="0"/>
              <a:t>Wie?</a:t>
            </a:r>
          </a:p>
          <a:p>
            <a:pPr marL="61381" lvl="0" indent="0">
              <a:buNone/>
            </a:pPr>
            <a:r>
              <a:rPr lang="nl-BE" sz="1600" dirty="0"/>
              <a:t>Voor ALLE zelfstandigen (bedrijfsleiders, eenmanszaken, helpers, werkend vennoten,…) :</a:t>
            </a:r>
          </a:p>
          <a:p>
            <a:pPr marL="61381" indent="0">
              <a:buNone/>
            </a:pPr>
            <a:endParaRPr lang="nl-BE" sz="1600" b="1" dirty="0"/>
          </a:p>
          <a:p>
            <a:pPr marL="61381" indent="0">
              <a:buNone/>
            </a:pPr>
            <a:r>
              <a:rPr lang="nl-BE" sz="1600" b="1" dirty="0"/>
              <a:t>Wat?</a:t>
            </a:r>
          </a:p>
          <a:p>
            <a:r>
              <a:rPr lang="nl-BE" sz="1600" dirty="0"/>
              <a:t>Welke kwartalen:</a:t>
            </a:r>
            <a:endParaRPr lang="nl-BE" sz="1600" b="1" dirty="0"/>
          </a:p>
          <a:p>
            <a:pPr lvl="0"/>
            <a:r>
              <a:rPr lang="nl-BE" sz="1600" dirty="0"/>
              <a:t>1ste kwartaal 2020 betalingsdatum van 31 maart 2020 naar 31 maart 2021</a:t>
            </a:r>
          </a:p>
          <a:p>
            <a:pPr lvl="0"/>
            <a:r>
              <a:rPr lang="nl-BE" sz="1600" dirty="0"/>
              <a:t>2de  kwartaal 2020 betalingsdatum van 30 juni 2020 naar 30 juni 2021</a:t>
            </a:r>
          </a:p>
          <a:p>
            <a:pPr lvl="0"/>
            <a:r>
              <a:rPr lang="nl-BE" sz="1600" dirty="0"/>
              <a:t>Regularisatiebijdragen voor het jaar 2018 met betalingsdatum 25/03/2020 naar 31 maart 2021</a:t>
            </a:r>
          </a:p>
          <a:p>
            <a:pPr lvl="0"/>
            <a:r>
              <a:rPr lang="nl-BE" sz="1600" dirty="0"/>
              <a:t>Regularisatiebijdragen voor het jaar 2018 met betalingsdatum 25/06/2020 of 25/09/20  naar 30/06/2021</a:t>
            </a:r>
          </a:p>
          <a:p>
            <a:pPr marL="61381" indent="0">
              <a:buNone/>
            </a:pPr>
            <a:r>
              <a:rPr lang="nl-BE" sz="1600" b="1" dirty="0"/>
              <a:t>Deadline aanvraag:</a:t>
            </a:r>
          </a:p>
          <a:p>
            <a:pPr lvl="0"/>
            <a:r>
              <a:rPr lang="nl-BE" sz="1600" dirty="0"/>
              <a:t>Aanvragen voor 15/06/2020 voor kwartaal 1</a:t>
            </a:r>
          </a:p>
          <a:p>
            <a:pPr lvl="0"/>
            <a:r>
              <a:rPr lang="nl-BE" sz="1600" dirty="0"/>
              <a:t>Aanvragen voor 15/06/2020 voor kwartaal 2       </a:t>
            </a:r>
            <a:r>
              <a:rPr lang="nl-BE" dirty="0"/>
              <a:t>      </a:t>
            </a:r>
          </a:p>
          <a:p>
            <a:r>
              <a:rPr lang="nl-BE" dirty="0"/>
              <a:t>! Fiscaliteit en VAPZ</a:t>
            </a:r>
          </a:p>
          <a:p>
            <a:endParaRPr lang="nl-BE" dirty="0"/>
          </a:p>
        </p:txBody>
      </p:sp>
      <p:sp>
        <p:nvSpPr>
          <p:cNvPr id="3" name="Titel 2"/>
          <p:cNvSpPr>
            <a:spLocks noGrp="1"/>
          </p:cNvSpPr>
          <p:nvPr>
            <p:ph type="title"/>
          </p:nvPr>
        </p:nvSpPr>
        <p:spPr/>
        <p:txBody>
          <a:bodyPr/>
          <a:lstStyle/>
          <a:p>
            <a:r>
              <a:rPr lang="nl-BE" dirty="0"/>
              <a:t>Uitstel van betaling</a:t>
            </a:r>
          </a:p>
        </p:txBody>
      </p:sp>
    </p:spTree>
    <p:extLst>
      <p:ext uri="{BB962C8B-B14F-4D97-AF65-F5344CB8AC3E}">
        <p14:creationId xmlns:p14="http://schemas.microsoft.com/office/powerpoint/2010/main" val="74747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7F68EEBD-219A-6546-B902-829E3E9133E3}"/>
              </a:ext>
            </a:extLst>
          </p:cNvPr>
          <p:cNvSpPr>
            <a:spLocks noGrp="1"/>
          </p:cNvSpPr>
          <p:nvPr>
            <p:ph type="sldNum" sz="quarter" idx="7"/>
          </p:nvPr>
        </p:nvSpPr>
        <p:spPr/>
        <p:txBody>
          <a:bodyPr/>
          <a:lstStyle/>
          <a:p>
            <a:pPr marL="25400" marR="0" lvl="0" indent="0" algn="l" defTabSz="914400" rtl="0" eaLnBrk="1" fontAlgn="auto" latinLnBrk="0" hangingPunct="1">
              <a:lnSpc>
                <a:spcPts val="1110"/>
              </a:lnSpc>
              <a:spcBef>
                <a:spcPts val="0"/>
              </a:spcBef>
              <a:spcAft>
                <a:spcPts val="0"/>
              </a:spcAft>
              <a:buClrTx/>
              <a:buSzTx/>
              <a:buFontTx/>
              <a:buNone/>
              <a:tabLst/>
              <a:defRPr/>
            </a:pPr>
            <a:fld id="{81D60167-4931-47E6-BA6A-407CBD079E47}" type="slidenum">
              <a:rPr kumimoji="0" lang="tr-TR" sz="1000" b="0" i="0" u="none" strike="noStrike" kern="1200" cap="none" spc="0" normalizeH="0" baseline="0" noProof="0" smtClean="0">
                <a:ln>
                  <a:noFill/>
                </a:ln>
                <a:solidFill>
                  <a:srgbClr val="FFFFFF"/>
                </a:solidFill>
                <a:effectLst/>
                <a:uLnTx/>
                <a:uFillTx/>
                <a:latin typeface="Arial"/>
                <a:ea typeface="+mn-ea"/>
                <a:cs typeface="Arial"/>
              </a:rPr>
              <a:pPr marL="25400" marR="0" lvl="0" indent="0" algn="l" defTabSz="914400" rtl="0" eaLnBrk="1" fontAlgn="auto" latinLnBrk="0" hangingPunct="1">
                <a:lnSpc>
                  <a:spcPts val="1110"/>
                </a:lnSpc>
                <a:spcBef>
                  <a:spcPts val="0"/>
                </a:spcBef>
                <a:spcAft>
                  <a:spcPts val="0"/>
                </a:spcAft>
                <a:buClrTx/>
                <a:buSzTx/>
                <a:buFontTx/>
                <a:buNone/>
                <a:tabLst/>
                <a:defRPr/>
              </a:pPr>
              <a:t>30</a:t>
            </a:fld>
            <a:endParaRPr kumimoji="0" lang="tr-TR" sz="1000" b="0" i="0" u="none" strike="noStrike" kern="1200" cap="none" spc="0" normalizeH="0" baseline="0" noProof="0" dirty="0">
              <a:ln>
                <a:noFill/>
              </a:ln>
              <a:solidFill>
                <a:srgbClr val="FFFFFF"/>
              </a:solidFill>
              <a:effectLst/>
              <a:uLnTx/>
              <a:uFillTx/>
              <a:latin typeface="Arial"/>
              <a:ea typeface="+mn-ea"/>
              <a:cs typeface="Arial"/>
            </a:endParaRPr>
          </a:p>
        </p:txBody>
      </p:sp>
      <p:sp>
        <p:nvSpPr>
          <p:cNvPr id="3" name="Titel 2">
            <a:extLst>
              <a:ext uri="{FF2B5EF4-FFF2-40B4-BE49-F238E27FC236}">
                <a16:creationId xmlns:a16="http://schemas.microsoft.com/office/drawing/2014/main" id="{8B66540E-DEE6-BF49-84B6-1B0A758AE08A}"/>
              </a:ext>
            </a:extLst>
          </p:cNvPr>
          <p:cNvSpPr>
            <a:spLocks noGrp="1"/>
          </p:cNvSpPr>
          <p:nvPr>
            <p:ph type="title"/>
          </p:nvPr>
        </p:nvSpPr>
        <p:spPr/>
        <p:txBody>
          <a:bodyPr/>
          <a:lstStyle/>
          <a:p>
            <a:r>
              <a:rPr lang="en-GB" dirty="0" err="1"/>
              <a:t>Contactgegevens</a:t>
            </a:r>
            <a:endParaRPr lang="en-GB" dirty="0"/>
          </a:p>
        </p:txBody>
      </p:sp>
      <p:sp>
        <p:nvSpPr>
          <p:cNvPr id="4" name="Tijdelijke aanduiding voor tekst 3">
            <a:extLst>
              <a:ext uri="{FF2B5EF4-FFF2-40B4-BE49-F238E27FC236}">
                <a16:creationId xmlns:a16="http://schemas.microsoft.com/office/drawing/2014/main" id="{F3B26B95-16A9-024F-B6C1-B75E26FEA267}"/>
              </a:ext>
            </a:extLst>
          </p:cNvPr>
          <p:cNvSpPr>
            <a:spLocks noGrp="1"/>
          </p:cNvSpPr>
          <p:nvPr>
            <p:ph type="body" sz="quarter" idx="10"/>
          </p:nvPr>
        </p:nvSpPr>
        <p:spPr/>
        <p:txBody>
          <a:bodyPr/>
          <a:lstStyle/>
          <a:p>
            <a:r>
              <a:rPr lang="en-GB" dirty="0"/>
              <a:t>Joris Brewaeys</a:t>
            </a:r>
          </a:p>
        </p:txBody>
      </p:sp>
      <p:sp>
        <p:nvSpPr>
          <p:cNvPr id="5" name="Tijdelijke aanduiding voor inhoud 4">
            <a:extLst>
              <a:ext uri="{FF2B5EF4-FFF2-40B4-BE49-F238E27FC236}">
                <a16:creationId xmlns:a16="http://schemas.microsoft.com/office/drawing/2014/main" id="{79293192-E655-244C-8708-8091968B9394}"/>
              </a:ext>
            </a:extLst>
          </p:cNvPr>
          <p:cNvSpPr>
            <a:spLocks noGrp="1"/>
          </p:cNvSpPr>
          <p:nvPr>
            <p:ph sz="half" idx="11"/>
          </p:nvPr>
        </p:nvSpPr>
        <p:spPr/>
        <p:txBody>
          <a:bodyPr/>
          <a:lstStyle/>
          <a:p>
            <a:r>
              <a:rPr lang="en-GB" dirty="0"/>
              <a:t>+32 478 57 53 36</a:t>
            </a:r>
          </a:p>
        </p:txBody>
      </p:sp>
      <p:sp>
        <p:nvSpPr>
          <p:cNvPr id="6" name="Ondertitel 5">
            <a:extLst>
              <a:ext uri="{FF2B5EF4-FFF2-40B4-BE49-F238E27FC236}">
                <a16:creationId xmlns:a16="http://schemas.microsoft.com/office/drawing/2014/main" id="{E5101147-3D12-BD45-9F6E-310A9878D4EE}"/>
              </a:ext>
            </a:extLst>
          </p:cNvPr>
          <p:cNvSpPr>
            <a:spLocks noGrp="1"/>
          </p:cNvSpPr>
          <p:nvPr>
            <p:ph type="subTitle" idx="4"/>
          </p:nvPr>
        </p:nvSpPr>
        <p:spPr/>
        <p:txBody>
          <a:bodyPr/>
          <a:lstStyle/>
          <a:p>
            <a:r>
              <a:rPr lang="en-US" b="1" dirty="0">
                <a:hlinkClick r:id="rId2"/>
              </a:rPr>
              <a:t>sdworx.be</a:t>
            </a:r>
            <a:endParaRPr lang="en-GB" dirty="0"/>
          </a:p>
        </p:txBody>
      </p:sp>
      <p:sp>
        <p:nvSpPr>
          <p:cNvPr id="7" name="Tijdelijke aanduiding voor inhoud 6">
            <a:extLst>
              <a:ext uri="{FF2B5EF4-FFF2-40B4-BE49-F238E27FC236}">
                <a16:creationId xmlns:a16="http://schemas.microsoft.com/office/drawing/2014/main" id="{A6F55F81-033F-BA45-A3C0-E0ACB22532C4}"/>
              </a:ext>
            </a:extLst>
          </p:cNvPr>
          <p:cNvSpPr>
            <a:spLocks noGrp="1"/>
          </p:cNvSpPr>
          <p:nvPr>
            <p:ph sz="half" idx="12"/>
          </p:nvPr>
        </p:nvSpPr>
        <p:spPr/>
        <p:txBody>
          <a:bodyPr/>
          <a:lstStyle/>
          <a:p>
            <a:r>
              <a:rPr lang="en-GB" dirty="0" err="1"/>
              <a:t>joris,brewaeys@sdworx.com</a:t>
            </a:r>
            <a:endParaRPr lang="en-GB" dirty="0"/>
          </a:p>
        </p:txBody>
      </p:sp>
    </p:spTree>
    <p:extLst>
      <p:ext uri="{BB962C8B-B14F-4D97-AF65-F5344CB8AC3E}">
        <p14:creationId xmlns:p14="http://schemas.microsoft.com/office/powerpoint/2010/main" val="41908151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E42F86-A909-4B70-9D0C-95A18B76938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CE42F86-A909-4B70-9D0C-95A18B7693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hoek 4" hidden="1">
            <a:extLst>
              <a:ext uri="{FF2B5EF4-FFF2-40B4-BE49-F238E27FC236}">
                <a16:creationId xmlns:a16="http://schemas.microsoft.com/office/drawing/2014/main" id="{76B13AA0-CE03-4970-925C-5979E4495CFD}"/>
              </a:ext>
            </a:extLst>
          </p:cNvPr>
          <p:cNvSpPr/>
          <p:nvPr>
            <p:custDataLst>
              <p:tags r:id="rId3"/>
            </p:custDataLst>
          </p:nvPr>
        </p:nvSpPr>
        <p:spPr>
          <a:xfrm>
            <a:off x="0" y="0"/>
            <a:ext cx="158750" cy="158750"/>
          </a:xfrm>
          <a:prstGeom prst="rect">
            <a:avLst/>
          </a:prstGeom>
          <a:solidFill>
            <a:srgbClr val="7A2653"/>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GB" sz="5000" b="1" dirty="0" err="1">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DEB5C3ED-8973-2C4A-B8AE-C8BC2D7EB10A}"/>
              </a:ext>
            </a:extLst>
          </p:cNvPr>
          <p:cNvSpPr>
            <a:spLocks noGrp="1"/>
          </p:cNvSpPr>
          <p:nvPr>
            <p:ph type="ctrTitle"/>
          </p:nvPr>
        </p:nvSpPr>
        <p:spPr/>
        <p:txBody>
          <a:bodyPr/>
          <a:lstStyle/>
          <a:p>
            <a:r>
              <a:rPr lang="en-GB" dirty="0"/>
              <a:t>Thank you</a:t>
            </a:r>
          </a:p>
        </p:txBody>
      </p:sp>
    </p:spTree>
    <p:extLst>
      <p:ext uri="{BB962C8B-B14F-4D97-AF65-F5344CB8AC3E}">
        <p14:creationId xmlns:p14="http://schemas.microsoft.com/office/powerpoint/2010/main" val="39099694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p:txBody>
          <a:bodyPr/>
          <a:lstStyle/>
          <a:p>
            <a:endParaRPr lang="nl-BE" dirty="0"/>
          </a:p>
          <a:p>
            <a:pPr lvl="5"/>
            <a:endParaRPr lang="nl-BE" dirty="0"/>
          </a:p>
          <a:p>
            <a:pPr marL="2285943" lvl="5" indent="0">
              <a:buNone/>
            </a:pPr>
            <a:r>
              <a:rPr lang="nl-BE" sz="4000" dirty="0">
                <a:solidFill>
                  <a:schemeClr val="accent1"/>
                </a:solidFill>
              </a:rPr>
              <a:t>BEDANKT </a:t>
            </a:r>
          </a:p>
          <a:p>
            <a:pPr marL="2285943" lvl="5" indent="0">
              <a:buNone/>
            </a:pPr>
            <a:r>
              <a:rPr lang="nl-BE" sz="4000" dirty="0">
                <a:solidFill>
                  <a:schemeClr val="accent1"/>
                </a:solidFill>
              </a:rPr>
              <a:t>EN </a:t>
            </a:r>
          </a:p>
          <a:p>
            <a:pPr marL="2285943" lvl="5" indent="0">
              <a:buNone/>
            </a:pPr>
            <a:r>
              <a:rPr lang="nl-BE" sz="4000" dirty="0">
                <a:solidFill>
                  <a:schemeClr val="accent1"/>
                </a:solidFill>
              </a:rPr>
              <a:t>BLIJF </a:t>
            </a:r>
          </a:p>
          <a:p>
            <a:pPr marL="2285943" lvl="5" indent="0">
              <a:buNone/>
            </a:pPr>
            <a:r>
              <a:rPr lang="nl-BE" sz="4000" dirty="0">
                <a:solidFill>
                  <a:schemeClr val="accent1"/>
                </a:solidFill>
              </a:rPr>
              <a:t>GEZOND!</a:t>
            </a:r>
          </a:p>
        </p:txBody>
      </p:sp>
      <p:sp>
        <p:nvSpPr>
          <p:cNvPr id="3" name="Titel 2"/>
          <p:cNvSpPr>
            <a:spLocks noGrp="1"/>
          </p:cNvSpPr>
          <p:nvPr>
            <p:ph type="title"/>
          </p:nvPr>
        </p:nvSpPr>
        <p:spPr/>
        <p:txBody>
          <a:bodyPr/>
          <a:lstStyle/>
          <a:p>
            <a:endParaRPr lang="nl-BE" dirty="0"/>
          </a:p>
        </p:txBody>
      </p:sp>
    </p:spTree>
    <p:extLst>
      <p:ext uri="{BB962C8B-B14F-4D97-AF65-F5344CB8AC3E}">
        <p14:creationId xmlns:p14="http://schemas.microsoft.com/office/powerpoint/2010/main" val="85282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338606"/>
            <a:ext cx="8696329" cy="4868215"/>
          </a:xfrm>
        </p:spPr>
        <p:txBody>
          <a:bodyPr/>
          <a:lstStyle/>
          <a:p>
            <a:pPr marL="61381" indent="0">
              <a:buNone/>
            </a:pPr>
            <a:endParaRPr lang="nl-BE" b="1" dirty="0"/>
          </a:p>
          <a:p>
            <a:pPr marL="61381" indent="0">
              <a:buNone/>
            </a:pPr>
            <a:r>
              <a:rPr lang="nl-BE" sz="1600" b="1" dirty="0"/>
              <a:t>Wie?</a:t>
            </a:r>
          </a:p>
          <a:p>
            <a:pPr lvl="1"/>
            <a:r>
              <a:rPr lang="nl-BE" sz="1600" dirty="0"/>
              <a:t>Hoofdberoep </a:t>
            </a:r>
          </a:p>
          <a:p>
            <a:pPr lvl="1"/>
            <a:r>
              <a:rPr lang="nl-BE" sz="1600" dirty="0"/>
              <a:t>Meewerkende partners maxi-statuut </a:t>
            </a:r>
          </a:p>
          <a:p>
            <a:pPr marL="61381" indent="0">
              <a:buNone/>
            </a:pPr>
            <a:r>
              <a:rPr lang="nl-BE" sz="1600" b="1" dirty="0"/>
              <a:t>Wat?</a:t>
            </a:r>
          </a:p>
          <a:p>
            <a:r>
              <a:rPr lang="nl-BE" sz="1600" dirty="0"/>
              <a:t>Volledige vrijstelling sociale bijdragen = NIET betalen</a:t>
            </a:r>
          </a:p>
          <a:p>
            <a:r>
              <a:rPr lang="nl-BE" sz="1600" dirty="0"/>
              <a:t>Staat van behoefte aantonen via verklaring op eer</a:t>
            </a:r>
          </a:p>
          <a:p>
            <a:r>
              <a:rPr lang="nl-BE" sz="1600" dirty="0"/>
              <a:t>Geen pensioenrechten</a:t>
            </a:r>
          </a:p>
          <a:p>
            <a:r>
              <a:rPr lang="nl-BE" sz="1600" dirty="0"/>
              <a:t>Binnen de 5 jaar bijbetalen</a:t>
            </a:r>
          </a:p>
          <a:p>
            <a:r>
              <a:rPr lang="nl-BE" sz="1600" dirty="0"/>
              <a:t>Inkomsten worden niet geproratiseerd</a:t>
            </a:r>
          </a:p>
          <a:p>
            <a:r>
              <a:rPr lang="nl-BE" sz="1600" u="sng" dirty="0"/>
              <a:t>Deadline aanvraag</a:t>
            </a:r>
            <a:r>
              <a:rPr lang="nl-BE" sz="1600" dirty="0"/>
              <a:t>: Binnen het jaar</a:t>
            </a:r>
          </a:p>
          <a:p>
            <a:pPr lvl="1"/>
            <a:endParaRPr lang="nl-BE" dirty="0"/>
          </a:p>
          <a:p>
            <a:pPr lvl="1"/>
            <a:endParaRPr lang="nl-BE" dirty="0"/>
          </a:p>
        </p:txBody>
      </p:sp>
      <p:sp>
        <p:nvSpPr>
          <p:cNvPr id="3" name="Titel 2"/>
          <p:cNvSpPr>
            <a:spLocks noGrp="1"/>
          </p:cNvSpPr>
          <p:nvPr>
            <p:ph type="title"/>
          </p:nvPr>
        </p:nvSpPr>
        <p:spPr>
          <a:xfrm>
            <a:off x="524112" y="534243"/>
            <a:ext cx="9091228" cy="1049460"/>
          </a:xfrm>
        </p:spPr>
        <p:txBody>
          <a:bodyPr/>
          <a:lstStyle/>
          <a:p>
            <a:r>
              <a:rPr lang="nl-BE" dirty="0"/>
              <a:t>Vrijstelling sociale bijdragen tijdelijke financiële moeilijkheden</a:t>
            </a:r>
          </a:p>
        </p:txBody>
      </p:sp>
    </p:spTree>
    <p:extLst>
      <p:ext uri="{BB962C8B-B14F-4D97-AF65-F5344CB8AC3E}">
        <p14:creationId xmlns:p14="http://schemas.microsoft.com/office/powerpoint/2010/main" val="235435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44338"/>
            <a:ext cx="8696329" cy="5439266"/>
          </a:xfrm>
        </p:spPr>
        <p:txBody>
          <a:bodyPr/>
          <a:lstStyle/>
          <a:p>
            <a:pPr marL="61381" indent="0">
              <a:buNone/>
            </a:pPr>
            <a:r>
              <a:rPr lang="nl-BE" sz="1600" b="1" dirty="0"/>
              <a:t>Wie? </a:t>
            </a:r>
          </a:p>
          <a:p>
            <a:r>
              <a:rPr lang="nl-BE" sz="1600" dirty="0"/>
              <a:t>Voor ALLE zelfstandigen (bedrijfsleiders, eenmanszaken, helpers, werkend vennoten,…) die:</a:t>
            </a:r>
          </a:p>
          <a:p>
            <a:pPr marL="61381" indent="0">
              <a:buNone/>
            </a:pPr>
            <a:endParaRPr lang="nl-BE" sz="1600" b="1" dirty="0"/>
          </a:p>
          <a:p>
            <a:pPr marL="61381" indent="0">
              <a:buNone/>
            </a:pPr>
            <a:r>
              <a:rPr lang="nl-BE" sz="1600" b="1" dirty="0"/>
              <a:t>Groep A</a:t>
            </a:r>
            <a:endParaRPr lang="nl-BE" sz="1600" dirty="0"/>
          </a:p>
          <a:p>
            <a:pPr marL="61381" lvl="0" indent="0">
              <a:buNone/>
            </a:pPr>
            <a:r>
              <a:rPr lang="nl-BE" sz="1600" dirty="0"/>
              <a:t>Hoofdberoep - Primo starters - Meewerkende partners MAXI</a:t>
            </a:r>
          </a:p>
          <a:p>
            <a:pPr marL="61381" lvl="0" indent="0">
              <a:buNone/>
            </a:pPr>
            <a:endParaRPr lang="nl-BE" sz="1600" dirty="0"/>
          </a:p>
          <a:p>
            <a:pPr marL="61381" indent="0">
              <a:buNone/>
            </a:pPr>
            <a:r>
              <a:rPr lang="nl-BE" sz="1600" b="1" dirty="0"/>
              <a:t>Groep B (betaalt de minimumbijdragen volgens de categorie hoofdberoep op N-3)</a:t>
            </a:r>
            <a:endParaRPr lang="nl-BE" sz="1600" dirty="0"/>
          </a:p>
          <a:p>
            <a:pPr marL="61381" lvl="0" indent="0">
              <a:buNone/>
            </a:pPr>
            <a:r>
              <a:rPr lang="nl-BE" sz="1600" dirty="0"/>
              <a:t>Bijberoep – Artikel 37 – Student-zelfstandige – Gepensioneerden</a:t>
            </a:r>
          </a:p>
          <a:p>
            <a:pPr marL="61381" lvl="0" indent="0">
              <a:buNone/>
            </a:pPr>
            <a:r>
              <a:rPr lang="nl-BE" sz="1600" dirty="0"/>
              <a:t>Groep B:</a:t>
            </a:r>
          </a:p>
          <a:p>
            <a:pPr marL="61381" lvl="0" indent="0">
              <a:buNone/>
            </a:pPr>
            <a:r>
              <a:rPr lang="nl-BE" sz="1600" dirty="0"/>
              <a:t>- Verlies recht op OR bij aanvraag vermindering in 2020.</a:t>
            </a:r>
          </a:p>
          <a:p>
            <a:pPr marL="61381" indent="0">
              <a:buNone/>
            </a:pPr>
            <a:r>
              <a:rPr lang="nl-BE" sz="1600" dirty="0"/>
              <a:t>- Als definitief inkomen toch onder de drempel ligt, moet uitkering niet teruggevorderd worden.</a:t>
            </a:r>
          </a:p>
          <a:p>
            <a:pPr marL="61381" indent="0">
              <a:buNone/>
            </a:pPr>
            <a:endParaRPr lang="nl-BE" sz="1600" dirty="0"/>
          </a:p>
          <a:p>
            <a:pPr marL="61381" indent="0">
              <a:buNone/>
            </a:pPr>
            <a:endParaRPr lang="nl-BE" sz="1600" dirty="0"/>
          </a:p>
        </p:txBody>
      </p:sp>
      <p:sp>
        <p:nvSpPr>
          <p:cNvPr id="3" name="Titel 2"/>
          <p:cNvSpPr>
            <a:spLocks noGrp="1"/>
          </p:cNvSpPr>
          <p:nvPr>
            <p:ph type="title"/>
          </p:nvPr>
        </p:nvSpPr>
        <p:spPr/>
        <p:txBody>
          <a:bodyPr/>
          <a:lstStyle/>
          <a:p>
            <a:r>
              <a:rPr lang="nl-BE" dirty="0"/>
              <a:t>Volledig overbruggingsrecht</a:t>
            </a:r>
          </a:p>
        </p:txBody>
      </p:sp>
    </p:spTree>
    <p:extLst>
      <p:ext uri="{BB962C8B-B14F-4D97-AF65-F5344CB8AC3E}">
        <p14:creationId xmlns:p14="http://schemas.microsoft.com/office/powerpoint/2010/main" val="224687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44338"/>
            <a:ext cx="8696329" cy="5439266"/>
          </a:xfrm>
        </p:spPr>
        <p:txBody>
          <a:bodyPr/>
          <a:lstStyle/>
          <a:p>
            <a:pPr marL="61381" indent="0">
              <a:buNone/>
            </a:pPr>
            <a:r>
              <a:rPr lang="nl-BE" sz="1600" b="1" dirty="0"/>
              <a:t>Groep C: ( die op N-3 geen bijdragen betaalt volgens hoofdberoep, maar op het jaar zelf wel.)</a:t>
            </a:r>
            <a:endParaRPr lang="nl-BE" sz="1600" dirty="0"/>
          </a:p>
          <a:p>
            <a:pPr marL="61381" lvl="0" indent="0">
              <a:buNone/>
            </a:pPr>
            <a:r>
              <a:rPr lang="nl-BE" sz="1600" dirty="0"/>
              <a:t>Bijberoep – Artikel 37 – Student-zelfstandige – Gepensioneerden</a:t>
            </a:r>
          </a:p>
          <a:p>
            <a:pPr marL="61381" indent="0">
              <a:buNone/>
            </a:pPr>
            <a:r>
              <a:rPr lang="nl-BE" sz="1600" dirty="0"/>
              <a:t>! GROEP C: OR nu aanvragen, uitbetaling pas bij doorstromen werkelijk inkomen! </a:t>
            </a:r>
          </a:p>
          <a:p>
            <a:pPr marL="61381" indent="0">
              <a:buNone/>
            </a:pPr>
            <a:r>
              <a:rPr lang="nl-BE" sz="1600" dirty="0"/>
              <a:t>Retro-actieve uitbetaling</a:t>
            </a:r>
          </a:p>
          <a:p>
            <a:pPr marL="61381" indent="0">
              <a:buNone/>
            </a:pPr>
            <a:r>
              <a:rPr lang="nl-BE" sz="1600" dirty="0"/>
              <a:t>Inclusief startende zelfstandigen voor 13/03/20</a:t>
            </a:r>
          </a:p>
          <a:p>
            <a:pPr marL="61381" indent="0">
              <a:buNone/>
            </a:pPr>
            <a:endParaRPr lang="nl-BE" sz="1600" dirty="0"/>
          </a:p>
          <a:p>
            <a:pPr marL="61381" indent="0">
              <a:buNone/>
            </a:pPr>
            <a:r>
              <a:rPr lang="nl-BE" sz="1600" b="1" dirty="0"/>
              <a:t>Voorwaarden:</a:t>
            </a:r>
          </a:p>
          <a:p>
            <a:pPr marL="61381" indent="0">
              <a:buNone/>
            </a:pPr>
            <a:r>
              <a:rPr lang="nl-BE" sz="1600" b="1" dirty="0"/>
              <a:t>Activiteit:</a:t>
            </a:r>
            <a:endParaRPr lang="nl-BE" sz="1600" dirty="0"/>
          </a:p>
          <a:p>
            <a:pPr marL="61381" lvl="0" indent="0">
              <a:buNone/>
            </a:pPr>
            <a:r>
              <a:rPr lang="nl-BE" sz="1600" u="sng" dirty="0"/>
              <a:t>Gedwongen sluiting </a:t>
            </a:r>
            <a:endParaRPr lang="nl-BE" sz="1600" dirty="0"/>
          </a:p>
          <a:p>
            <a:r>
              <a:rPr lang="nl-BE" sz="1600" dirty="0"/>
              <a:t>(activiteiten volgens MB van 13/03/2020) :</a:t>
            </a:r>
          </a:p>
          <a:p>
            <a:r>
              <a:rPr lang="nl-BE" sz="1600" dirty="0"/>
              <a:t>Bv. Horeca, ook al bied je nog afhaalmaaltijden aan. </a:t>
            </a:r>
          </a:p>
          <a:p>
            <a:r>
              <a:rPr lang="nl-BE" sz="1600" dirty="0"/>
              <a:t>+ Bouw PC 124</a:t>
            </a:r>
          </a:p>
          <a:p>
            <a:r>
              <a:rPr lang="nl-BE" sz="1600" dirty="0"/>
              <a:t>+ Krantenwinkels voor maart</a:t>
            </a:r>
          </a:p>
          <a:p>
            <a:pPr lvl="0"/>
            <a:endParaRPr lang="nl-BE" sz="1600" b="1" dirty="0"/>
          </a:p>
        </p:txBody>
      </p:sp>
      <p:sp>
        <p:nvSpPr>
          <p:cNvPr id="3" name="Titel 2"/>
          <p:cNvSpPr>
            <a:spLocks noGrp="1"/>
          </p:cNvSpPr>
          <p:nvPr>
            <p:ph type="title"/>
          </p:nvPr>
        </p:nvSpPr>
        <p:spPr/>
        <p:txBody>
          <a:bodyPr/>
          <a:lstStyle/>
          <a:p>
            <a:r>
              <a:rPr lang="nl-BE" dirty="0"/>
              <a:t>Volledig overbruggingsrecht</a:t>
            </a:r>
          </a:p>
        </p:txBody>
      </p:sp>
    </p:spTree>
    <p:extLst>
      <p:ext uri="{BB962C8B-B14F-4D97-AF65-F5344CB8AC3E}">
        <p14:creationId xmlns:p14="http://schemas.microsoft.com/office/powerpoint/2010/main" val="2915214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244338"/>
            <a:ext cx="8696329" cy="5439266"/>
          </a:xfrm>
        </p:spPr>
        <p:txBody>
          <a:bodyPr/>
          <a:lstStyle/>
          <a:p>
            <a:pPr marL="61381" lvl="0" indent="0">
              <a:buNone/>
            </a:pPr>
            <a:r>
              <a:rPr lang="nl-BE" sz="1600" u="sng" dirty="0"/>
              <a:t>Geen gedwongen sluiting</a:t>
            </a:r>
            <a:endParaRPr lang="nl-BE" sz="1600" dirty="0"/>
          </a:p>
          <a:p>
            <a:r>
              <a:rPr lang="nl-BE" sz="1600" dirty="0"/>
              <a:t>Zelf beslist om zaak 7 opeenvolgende kalenderdagen in dezelfde maand te sluiten.</a:t>
            </a:r>
          </a:p>
          <a:p>
            <a:pPr marL="61381" indent="0">
              <a:buNone/>
            </a:pPr>
            <a:r>
              <a:rPr lang="nl-BE" sz="1600" dirty="0"/>
              <a:t>Bijvoorbeeld uit voorzorg, of omdat je weinig klanten hebt.</a:t>
            </a:r>
          </a:p>
          <a:p>
            <a:pPr marL="61381" indent="0">
              <a:buNone/>
            </a:pPr>
            <a:r>
              <a:rPr lang="nl-BE" sz="1600" dirty="0"/>
              <a:t> </a:t>
            </a:r>
          </a:p>
          <a:p>
            <a:pPr marL="61381" indent="0">
              <a:buNone/>
            </a:pPr>
            <a:r>
              <a:rPr lang="nl-BE" sz="1600" b="1" dirty="0"/>
              <a:t>Domicilie</a:t>
            </a:r>
            <a:endParaRPr lang="nl-BE" sz="1600" dirty="0"/>
          </a:p>
          <a:p>
            <a:pPr marL="61381" indent="0">
              <a:buNone/>
            </a:pPr>
            <a:r>
              <a:rPr lang="nl-BE" sz="1600" dirty="0"/>
              <a:t>Geen vereiste dat domicilie in België is. </a:t>
            </a:r>
          </a:p>
          <a:p>
            <a:pPr marL="61381" indent="0">
              <a:buNone/>
            </a:pPr>
            <a:r>
              <a:rPr lang="nl-BE" sz="1600" dirty="0"/>
              <a:t> </a:t>
            </a:r>
          </a:p>
          <a:p>
            <a:pPr marL="61381" indent="0">
              <a:buNone/>
            </a:pPr>
            <a:r>
              <a:rPr lang="nl-BE" sz="1600" b="1" dirty="0"/>
              <a:t>Bezoldiging:</a:t>
            </a:r>
            <a:endParaRPr lang="nl-BE" sz="1600" dirty="0"/>
          </a:p>
          <a:p>
            <a:pPr marL="61381" indent="0">
              <a:buNone/>
            </a:pPr>
            <a:r>
              <a:rPr lang="nl-BE" sz="1600" dirty="0"/>
              <a:t>Bezoldiging en VAA van bedrijfsleider mag blijven doorlopen</a:t>
            </a:r>
          </a:p>
          <a:p>
            <a:pPr marL="61381" lvl="0" indent="0">
              <a:buNone/>
            </a:pPr>
            <a:endParaRPr lang="nl-BE" sz="1600" b="1" dirty="0"/>
          </a:p>
          <a:p>
            <a:pPr marL="61381" lvl="0" indent="0">
              <a:buNone/>
            </a:pPr>
            <a:r>
              <a:rPr lang="nl-BE" sz="1600" b="1" dirty="0"/>
              <a:t>Sociale bijdragen:</a:t>
            </a:r>
          </a:p>
          <a:p>
            <a:pPr marL="61381" lvl="0" indent="0">
              <a:buNone/>
            </a:pPr>
            <a:r>
              <a:rPr lang="nl-BE" sz="1600" dirty="0"/>
              <a:t>Geen</a:t>
            </a:r>
          </a:p>
          <a:p>
            <a:pPr marL="61381" indent="0">
              <a:buNone/>
            </a:pPr>
            <a:endParaRPr lang="nl-BE" sz="1600" b="1" dirty="0"/>
          </a:p>
        </p:txBody>
      </p:sp>
      <p:sp>
        <p:nvSpPr>
          <p:cNvPr id="3" name="Titel 2"/>
          <p:cNvSpPr>
            <a:spLocks noGrp="1"/>
          </p:cNvSpPr>
          <p:nvPr>
            <p:ph type="title"/>
          </p:nvPr>
        </p:nvSpPr>
        <p:spPr/>
        <p:txBody>
          <a:bodyPr/>
          <a:lstStyle/>
          <a:p>
            <a:r>
              <a:rPr lang="nl-BE" dirty="0"/>
              <a:t>Volledig overbruggingsrecht</a:t>
            </a:r>
          </a:p>
        </p:txBody>
      </p:sp>
    </p:spTree>
    <p:extLst>
      <p:ext uri="{BB962C8B-B14F-4D97-AF65-F5344CB8AC3E}">
        <p14:creationId xmlns:p14="http://schemas.microsoft.com/office/powerpoint/2010/main" val="162232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357460"/>
            <a:ext cx="8696329" cy="4849361"/>
          </a:xfrm>
        </p:spPr>
        <p:txBody>
          <a:bodyPr/>
          <a:lstStyle/>
          <a:p>
            <a:pPr marL="61381" indent="0">
              <a:buNone/>
            </a:pPr>
            <a:r>
              <a:rPr lang="nl-BE" b="1" dirty="0"/>
              <a:t>Wat?</a:t>
            </a:r>
          </a:p>
          <a:p>
            <a:pPr marL="61381" indent="0">
              <a:buNone/>
            </a:pPr>
            <a:r>
              <a:rPr lang="nl-BE" b="1" dirty="0"/>
              <a:t>Maandelijkse belastbare uitkering:</a:t>
            </a:r>
          </a:p>
          <a:p>
            <a:pPr marL="61381" indent="0">
              <a:buNone/>
            </a:pPr>
            <a:r>
              <a:rPr lang="nl-BE" sz="1800" dirty="0"/>
              <a:t>	- 1291,69 euro (zonder gezinslast) </a:t>
            </a:r>
          </a:p>
          <a:p>
            <a:pPr marL="61381" indent="0">
              <a:buNone/>
            </a:pPr>
            <a:r>
              <a:rPr lang="nl-BE" sz="1800" dirty="0"/>
              <a:t>	- 1614,10 euro (*met gezinslast)</a:t>
            </a:r>
          </a:p>
          <a:p>
            <a:pPr marL="61381" indent="0">
              <a:buNone/>
            </a:pPr>
            <a:endParaRPr lang="nl-BE" sz="1800" dirty="0"/>
          </a:p>
          <a:p>
            <a:pPr marL="61381" indent="0">
              <a:buNone/>
            </a:pPr>
            <a:r>
              <a:rPr lang="nl-BE" sz="1800" dirty="0"/>
              <a:t>maart = aanvraag uiterlijk op 30/09/20</a:t>
            </a:r>
          </a:p>
          <a:p>
            <a:pPr marL="61381" indent="0">
              <a:buNone/>
            </a:pPr>
            <a:r>
              <a:rPr lang="nl-BE" sz="1800" dirty="0"/>
              <a:t>april = aanvraag uiterlijk op 31/12/20</a:t>
            </a:r>
          </a:p>
          <a:p>
            <a:pPr marL="61381" indent="0">
              <a:buNone/>
            </a:pPr>
            <a:endParaRPr lang="nl-BE" sz="1800" dirty="0"/>
          </a:p>
          <a:p>
            <a:pPr marL="61381" indent="0">
              <a:buNone/>
            </a:pPr>
            <a:r>
              <a:rPr lang="nl-BE" b="1" dirty="0"/>
              <a:t>Hoe wordt gezinslast bepaald?</a:t>
            </a:r>
          </a:p>
          <a:p>
            <a:pPr marL="61381" indent="0">
              <a:buNone/>
            </a:pPr>
            <a:r>
              <a:rPr lang="nl-BE" dirty="0"/>
              <a:t>Dit gaat om personen die ten laste zijn bij het ziekenfonds voor zowel uitkeringen als voor geneeskundige verzorging </a:t>
            </a:r>
          </a:p>
          <a:p>
            <a:pPr marL="61381" indent="0">
              <a:buNone/>
            </a:pPr>
            <a:endParaRPr lang="nl-BE" sz="1800" dirty="0"/>
          </a:p>
          <a:p>
            <a:endParaRPr lang="nl-BE" dirty="0"/>
          </a:p>
        </p:txBody>
      </p:sp>
      <p:sp>
        <p:nvSpPr>
          <p:cNvPr id="3" name="Titel 2"/>
          <p:cNvSpPr>
            <a:spLocks noGrp="1"/>
          </p:cNvSpPr>
          <p:nvPr>
            <p:ph type="title"/>
          </p:nvPr>
        </p:nvSpPr>
        <p:spPr/>
        <p:txBody>
          <a:bodyPr/>
          <a:lstStyle/>
          <a:p>
            <a:r>
              <a:rPr lang="nl-BE" dirty="0"/>
              <a:t>Volledig overbruggingsrecht</a:t>
            </a:r>
          </a:p>
        </p:txBody>
      </p:sp>
    </p:spTree>
    <p:extLst>
      <p:ext uri="{BB962C8B-B14F-4D97-AF65-F5344CB8AC3E}">
        <p14:creationId xmlns:p14="http://schemas.microsoft.com/office/powerpoint/2010/main" val="402835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a:xfrm>
            <a:off x="524113" y="1174418"/>
            <a:ext cx="9703969" cy="5032403"/>
          </a:xfrm>
        </p:spPr>
        <p:txBody>
          <a:bodyPr/>
          <a:lstStyle/>
          <a:p>
            <a:pPr marL="61381" indent="0">
              <a:buNone/>
            </a:pPr>
            <a:r>
              <a:rPr lang="nl-BE" sz="1600" b="1" dirty="0"/>
              <a:t>Wie? </a:t>
            </a:r>
          </a:p>
          <a:p>
            <a:r>
              <a:rPr lang="nl-BE" sz="1600" dirty="0"/>
              <a:t>Voor ALLE zelfstandigen (bedrijfsleiders, eenmanszaken, helpers, werkend vennoten,…) die:</a:t>
            </a:r>
          </a:p>
          <a:p>
            <a:endParaRPr lang="nl-BE" sz="1600" dirty="0"/>
          </a:p>
          <a:p>
            <a:r>
              <a:rPr lang="nl-BE" sz="1600" b="1" dirty="0"/>
              <a:t>Groep A </a:t>
            </a:r>
            <a:r>
              <a:rPr lang="nl-BE" b="1" dirty="0"/>
              <a:t>(met een inkomen hoger dan 6.996,89 euro tot 13.993,78 euro op N-3)</a:t>
            </a:r>
            <a:endParaRPr lang="nl-BE" dirty="0"/>
          </a:p>
          <a:p>
            <a:pPr marL="61381" lvl="0" indent="0">
              <a:buNone/>
            </a:pPr>
            <a:r>
              <a:rPr lang="nl-BE" sz="1600" dirty="0"/>
              <a:t>Bijberoep – Artikel 37 – Student-zelfstandige – Gepensioneerden</a:t>
            </a:r>
          </a:p>
          <a:p>
            <a:pPr marL="61381" indent="0">
              <a:buNone/>
            </a:pPr>
            <a:r>
              <a:rPr lang="nl-BE" sz="1600" b="1" dirty="0"/>
              <a:t> </a:t>
            </a:r>
            <a:r>
              <a:rPr lang="nl-BE" sz="1600" dirty="0"/>
              <a:t>Groep A</a:t>
            </a:r>
            <a:r>
              <a:rPr lang="nl-BE" sz="1600" b="1" dirty="0"/>
              <a:t>:</a:t>
            </a:r>
          </a:p>
          <a:p>
            <a:pPr marL="61381" indent="0">
              <a:buNone/>
            </a:pPr>
            <a:r>
              <a:rPr lang="nl-BE" sz="1600" dirty="0"/>
              <a:t>- Verlies recht op OR bij aanvraag vermindering in 2020.</a:t>
            </a:r>
          </a:p>
          <a:p>
            <a:pPr marL="61381" indent="0">
              <a:buNone/>
            </a:pPr>
            <a:r>
              <a:rPr lang="nl-BE" sz="1600" dirty="0"/>
              <a:t>- Onmiddellijke uitbetaling</a:t>
            </a:r>
          </a:p>
          <a:p>
            <a:endParaRPr lang="nl-BE" sz="1600" dirty="0"/>
          </a:p>
        </p:txBody>
      </p:sp>
      <p:sp>
        <p:nvSpPr>
          <p:cNvPr id="3" name="Titel 2"/>
          <p:cNvSpPr>
            <a:spLocks noGrp="1"/>
          </p:cNvSpPr>
          <p:nvPr>
            <p:ph type="title"/>
          </p:nvPr>
        </p:nvSpPr>
        <p:spPr/>
        <p:txBody>
          <a:bodyPr/>
          <a:lstStyle/>
          <a:p>
            <a:r>
              <a:rPr lang="nl-BE" dirty="0"/>
              <a:t>Half overbruggingsrecht</a:t>
            </a:r>
          </a:p>
        </p:txBody>
      </p:sp>
    </p:spTree>
    <p:extLst>
      <p:ext uri="{BB962C8B-B14F-4D97-AF65-F5344CB8AC3E}">
        <p14:creationId xmlns:p14="http://schemas.microsoft.com/office/powerpoint/2010/main" val="179187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hVj19PPP4zjqGqPnyIa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hVj19PPP4zjqGqPnyIa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e1DUdDonhoRo51Rez1r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zFcXhAvFiPRvNGpq4Qg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jfUNjFp.o8Fp3cQn5Bi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hVj19PPP4zjqGqPnyIa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hVj19PPP4zjqGqPnyIa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toorthema">
  <a:themeElements>
    <a:clrScheme name="Xerius">
      <a:dk1>
        <a:srgbClr val="000000"/>
      </a:dk1>
      <a:lt1>
        <a:srgbClr val="FFFFFF"/>
      </a:lt1>
      <a:dk2>
        <a:srgbClr val="555555"/>
      </a:dk2>
      <a:lt2>
        <a:srgbClr val="DCDCDC"/>
      </a:lt2>
      <a:accent1>
        <a:srgbClr val="ED8B00"/>
      </a:accent1>
      <a:accent2>
        <a:srgbClr val="FFFFFF"/>
      </a:accent2>
      <a:accent3>
        <a:srgbClr val="991E66"/>
      </a:accent3>
      <a:accent4>
        <a:srgbClr val="D14124"/>
      </a:accent4>
      <a:accent5>
        <a:srgbClr val="E0457B"/>
      </a:accent5>
      <a:accent6>
        <a:srgbClr val="00AF9F"/>
      </a:accent6>
      <a:hlink>
        <a:srgbClr val="ED8B00"/>
      </a:hlink>
      <a:folHlink>
        <a:srgbClr val="991E66"/>
      </a:folHlink>
    </a:clrScheme>
    <a:fontScheme name="Xerius">
      <a:majorFont>
        <a:latin typeface="Crank 8 Regular"/>
        <a:ea typeface=""/>
        <a:cs typeface=""/>
      </a:majorFont>
      <a:minorFont>
        <a:latin typeface="Robot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ED8B02"/>
        </a:solidFill>
        <a:ln>
          <a:noFill/>
        </a:ln>
        <a:effectLst/>
      </a:spPr>
      <a:bodyPr lIns="50800" tIns="50800" rIns="50800" bIns="50800" anchor="ctr"/>
      <a:lstStyle>
        <a:defPPr marL="0" indent="0" algn="ctr">
          <a:lnSpc>
            <a:spcPct val="100000"/>
          </a:lnSpc>
          <a:buSzTx/>
          <a:buFontTx/>
          <a:buNone/>
          <a:defRPr sz="1600" dirty="0">
            <a:solidFill>
              <a:schemeClr val="bg1"/>
            </a:solidFill>
            <a:latin typeface="Crank 8 Regular" panose="02000506030000020004" pitchFamily="2" charset="77"/>
            <a:ea typeface="Roboto" charset="0"/>
            <a:cs typeface="Roboto" charset="0"/>
            <a:sym typeface="Helvetica Light" charset="0"/>
          </a:defRPr>
        </a:defPPr>
      </a:lstStyle>
    </a:spDef>
  </a:objectDefaults>
  <a:extraClrSchemeLst/>
  <a:extLst>
    <a:ext uri="{05A4C25C-085E-4340-85A3-A5531E510DB2}">
      <thm15:themeFamily xmlns:thm15="http://schemas.microsoft.com/office/thememl/2012/main" name="Xerius_PPT_template_V3" id="{085B68D0-B1B6-1748-91D6-4EF03090DBD2}" vid="{A4C2047F-46CC-8B44-A9FF-4F3A237D5355}"/>
    </a:ext>
  </a:extLst>
</a:theme>
</file>

<file path=ppt/theme/theme2.xml><?xml version="1.0" encoding="utf-8"?>
<a:theme xmlns:a="http://schemas.openxmlformats.org/drawingml/2006/main" name="sdworx">
  <a:themeElements>
    <a:clrScheme name="Aangepast 227">
      <a:dk1>
        <a:srgbClr val="57595C"/>
      </a:dk1>
      <a:lt1>
        <a:srgbClr val="FFFFFF"/>
      </a:lt1>
      <a:dk2>
        <a:srgbClr val="C8C9CC"/>
      </a:dk2>
      <a:lt2>
        <a:srgbClr val="EEECE1"/>
      </a:lt2>
      <a:accent1>
        <a:srgbClr val="DB4303"/>
      </a:accent1>
      <a:accent2>
        <a:srgbClr val="74787A"/>
      </a:accent2>
      <a:accent3>
        <a:srgbClr val="F5A900"/>
      </a:accent3>
      <a:accent4>
        <a:srgbClr val="E60036"/>
      </a:accent4>
      <a:accent5>
        <a:srgbClr val="7A2653"/>
      </a:accent5>
      <a:accent6>
        <a:srgbClr val="F79646"/>
      </a:accent6>
      <a:hlink>
        <a:srgbClr val="C7C7C6"/>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A2653"/>
        </a:solidFill>
        <a:ln>
          <a:noFill/>
        </a:ln>
        <a:effectLst/>
      </a:spPr>
      <a:bodyPr rtlCol="0" anchor="ctr"/>
      <a:lstStyle>
        <a:defPPr algn="ctr">
          <a:defRPr sz="160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10160">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lumMod val="50000"/>
                <a:lumOff val="50000"/>
              </a:schemeClr>
            </a:solidFill>
            <a:latin typeface="Arial"/>
            <a:cs typeface="Arial"/>
          </a:defRPr>
        </a:defPPr>
      </a:lstStyle>
    </a:txDef>
  </a:objectDefaults>
  <a:extraClrSchemeLst/>
  <a:extLst>
    <a:ext uri="{05A4C25C-085E-4340-85A3-A5531E510DB2}">
      <thm15:themeFamily xmlns:thm15="http://schemas.microsoft.com/office/thememl/2012/main" name="SDWorx_TMP_2019" id="{5EA2E4A6-C1EF-0B49-95D4-F2D167FA01DB}" vid="{C5B1DAD7-6198-5548-BB68-6EF9AC4E46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EDD944754485949A306FDEB6C8A8E94" ma:contentTypeVersion="11" ma:contentTypeDescription="Create a new document." ma:contentTypeScope="" ma:versionID="d667cfe5f11ee67b3f022eee150bf940">
  <xsd:schema xmlns:xsd="http://www.w3.org/2001/XMLSchema" xmlns:xs="http://www.w3.org/2001/XMLSchema" xmlns:p="http://schemas.microsoft.com/office/2006/metadata/properties" xmlns:ns3="a48efe3c-16ee-42aa-a8d0-10379262b9d2" xmlns:ns4="400c41d8-27f4-4c9c-b668-453179b8f9cc" targetNamespace="http://schemas.microsoft.com/office/2006/metadata/properties" ma:root="true" ma:fieldsID="60c649f5451fe33c4ac1552172f052b5" ns3:_="" ns4:_="">
    <xsd:import namespace="a48efe3c-16ee-42aa-a8d0-10379262b9d2"/>
    <xsd:import namespace="400c41d8-27f4-4c9c-b668-453179b8f9c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efe3c-16ee-42aa-a8d0-10379262b9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00c41d8-27f4-4c9c-b668-453179b8f9c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1F91F5A-E891-43BB-81BE-129CA10CD509}">
  <ds:schemaRefs>
    <ds:schemaRef ds:uri="http://schemas.microsoft.com/sharepoint/v3/contenttype/forms"/>
  </ds:schemaRefs>
</ds:datastoreItem>
</file>

<file path=customXml/itemProps2.xml><?xml version="1.0" encoding="utf-8"?>
<ds:datastoreItem xmlns:ds="http://schemas.openxmlformats.org/officeDocument/2006/customXml" ds:itemID="{3C474F79-8B27-445D-A85F-1C28E9A7F9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efe3c-16ee-42aa-a8d0-10379262b9d2"/>
    <ds:schemaRef ds:uri="400c41d8-27f4-4c9c-b668-453179b8f9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915E4AB-F500-4DCE-8E2A-829B9FCA4F63}">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400c41d8-27f4-4c9c-b668-453179b8f9cc"/>
    <ds:schemaRef ds:uri="http://purl.org/dc/terms/"/>
    <ds:schemaRef ds:uri="a48efe3c-16ee-42aa-a8d0-10379262b9d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689</Words>
  <Application>Microsoft Office PowerPoint</Application>
  <PresentationFormat>Breedbeeld</PresentationFormat>
  <Paragraphs>369</Paragraphs>
  <Slides>32</Slides>
  <Notes>7</Notes>
  <HiddenSlides>1</HiddenSlides>
  <MMClips>0</MMClips>
  <ScaleCrop>false</ScaleCrop>
  <HeadingPairs>
    <vt:vector size="8" baseType="variant">
      <vt:variant>
        <vt:lpstr>Gebruikte lettertypen</vt:lpstr>
      </vt:variant>
      <vt:variant>
        <vt:i4>16</vt:i4>
      </vt:variant>
      <vt:variant>
        <vt:lpstr>Thema</vt:lpstr>
      </vt:variant>
      <vt:variant>
        <vt:i4>2</vt:i4>
      </vt:variant>
      <vt:variant>
        <vt:lpstr>Ingesloten OLE-bronprogramma's</vt:lpstr>
      </vt:variant>
      <vt:variant>
        <vt:i4>1</vt:i4>
      </vt:variant>
      <vt:variant>
        <vt:lpstr>Diatitels</vt:lpstr>
      </vt:variant>
      <vt:variant>
        <vt:i4>32</vt:i4>
      </vt:variant>
    </vt:vector>
  </HeadingPairs>
  <TitlesOfParts>
    <vt:vector size="51" baseType="lpstr">
      <vt:lpstr>.AppleSystemUIFont</vt:lpstr>
      <vt:lpstr>AlNile-Bold</vt:lpstr>
      <vt:lpstr>Arial</vt:lpstr>
      <vt:lpstr>Arial Hebrew</vt:lpstr>
      <vt:lpstr>Arial Standaard</vt:lpstr>
      <vt:lpstr>Calibri</vt:lpstr>
      <vt:lpstr>Crank 8 Plus Two</vt:lpstr>
      <vt:lpstr>Crank 8 Regular</vt:lpstr>
      <vt:lpstr>Helvetica Light</vt:lpstr>
      <vt:lpstr>LucidaGrande</vt:lpstr>
      <vt:lpstr>Metronic Slab Narrow Normaal</vt:lpstr>
      <vt:lpstr>Roboto</vt:lpstr>
      <vt:lpstr>Roboto Black</vt:lpstr>
      <vt:lpstr>Roboto Medium</vt:lpstr>
      <vt:lpstr>Systeemlettertype</vt:lpstr>
      <vt:lpstr>Times New Roman</vt:lpstr>
      <vt:lpstr>1_Kantoorthema</vt:lpstr>
      <vt:lpstr>sdworx</vt:lpstr>
      <vt:lpstr>think-cell Slide</vt:lpstr>
      <vt:lpstr>    Coronamaatregelen  Xerius</vt:lpstr>
      <vt:lpstr>Maatregelen </vt:lpstr>
      <vt:lpstr>Uitstel van betaling</vt:lpstr>
      <vt:lpstr>Vrijstelling sociale bijdragen tijdelijke financiële moeilijkheden</vt:lpstr>
      <vt:lpstr>Volledig overbruggingsrecht</vt:lpstr>
      <vt:lpstr>Volledig overbruggingsrecht</vt:lpstr>
      <vt:lpstr>Volledig overbruggingsrecht</vt:lpstr>
      <vt:lpstr>Volledig overbruggingsrecht</vt:lpstr>
      <vt:lpstr>Half overbruggingsrecht</vt:lpstr>
      <vt:lpstr>Half overbruggingsrecht</vt:lpstr>
      <vt:lpstr>Half overbruggingsrecht</vt:lpstr>
      <vt:lpstr>Half overbruggingsrecht</vt:lpstr>
      <vt:lpstr>Half overbruggingsrecht</vt:lpstr>
      <vt:lpstr>      Coronamaatregelen Vlaio</vt:lpstr>
      <vt:lpstr>Hinderpremie</vt:lpstr>
      <vt:lpstr>Hinderpremie</vt:lpstr>
      <vt:lpstr>Compensatiepremie</vt:lpstr>
      <vt:lpstr>Compensatiepremie</vt:lpstr>
      <vt:lpstr>Compensatiepremie</vt:lpstr>
      <vt:lpstr>Compensatiepremie</vt:lpstr>
      <vt:lpstr>Compensatiepremie</vt:lpstr>
      <vt:lpstr>Compensatiepremie</vt:lpstr>
      <vt:lpstr>Compensatiepremie</vt:lpstr>
      <vt:lpstr>Contactgegevens</vt:lpstr>
      <vt:lpstr>Webinar Corona</vt:lpstr>
      <vt:lpstr>Uitstel Bedrijfsvoorheffing </vt:lpstr>
      <vt:lpstr>Uitstel RSZ</vt:lpstr>
      <vt:lpstr>Ook bepaalde fondsen volgden en introduceerden een eigen regeling in het kader van uitstel betaling</vt:lpstr>
      <vt:lpstr>Overmacht Corona - werkloosheid</vt:lpstr>
      <vt:lpstr>Contactgegevens</vt:lpstr>
      <vt:lpstr>Thank you</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zicht  Corona maatregelen</dc:title>
  <dc:creator>Chmanai Alexandra - Xerius</dc:creator>
  <cp:lastModifiedBy>Chmanai Alexandra - Xerius</cp:lastModifiedBy>
  <cp:revision>11</cp:revision>
  <dcterms:created xsi:type="dcterms:W3CDTF">2020-04-20T08:14:48Z</dcterms:created>
  <dcterms:modified xsi:type="dcterms:W3CDTF">2020-04-22T06:5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DD944754485949A306FDEB6C8A8E94</vt:lpwstr>
  </property>
</Properties>
</file>